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01.xml" ContentType="application/vnd.openxmlformats-officedocument.presentationml.tags+xml"/>
  <Override PartName="/ppt/notesSlides/notesSlide1.xml" ContentType="application/vnd.openxmlformats-officedocument.presentationml.notesSlide+xml"/>
  <Override PartName="/ppt/tags/tag102.xml" ContentType="application/vnd.openxmlformats-officedocument.presentationml.tags+xml"/>
  <Override PartName="/ppt/notesSlides/notesSlide2.xml" ContentType="application/vnd.openxmlformats-officedocument.presentationml.notesSlide+xml"/>
  <Override PartName="/ppt/tags/tag103.xml" ContentType="application/vnd.openxmlformats-officedocument.presentationml.tags+xml"/>
  <Override PartName="/ppt/notesSlides/notesSlide3.xml" ContentType="application/vnd.openxmlformats-officedocument.presentationml.notesSlide+xml"/>
  <Override PartName="/ppt/tags/tag104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  <p:sldMasterId id="2147483884" r:id="rId5"/>
    <p:sldMasterId id="2147484257" r:id="rId6"/>
    <p:sldMasterId id="2147484361" r:id="rId7"/>
  </p:sldMasterIdLst>
  <p:notesMasterIdLst>
    <p:notesMasterId r:id="rId13"/>
  </p:notesMasterIdLst>
  <p:handoutMasterIdLst>
    <p:handoutMasterId r:id="rId14"/>
  </p:handoutMasterIdLst>
  <p:sldIdLst>
    <p:sldId id="2147482695" r:id="rId8"/>
    <p:sldId id="2147483279" r:id="rId9"/>
    <p:sldId id="307" r:id="rId10"/>
    <p:sldId id="308" r:id="rId11"/>
    <p:sldId id="272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BBE51E-DFEC-08AD-9FA5-A40D04F2459F}" name="Barbieri, Roberta {PEP}" initials="BR{" userId="S::Roberta.Barbieri@pepsico.com::02d463e3-31be-4543-9635-215167b37761" providerId="AD"/>
  <p188:author id="{BEDB8A1F-86FE-81C5-1C08-43C7778120C3}" name="Simoglou, Christopher {PEP}" initials="SC{" userId="S::Christopher.Simoglou@pepsico.com::9252f5cc-4145-4d6a-8c3f-916fb1da6b1b" providerId="AD"/>
  <p188:author id="{74B89E25-8C51-F0AD-3952-842FFE6A0C5E}" name="Jones, Melissa {PEP}" initials="JM{" userId="S::Melissa.Jones@pepsico.com::76dbaf36-b9c3-4a64-b475-32e5a5a638fe" providerId="AD"/>
  <p188:author id="{44E24B56-B785-32DF-6D49-DC3D9E5320DC}" name="Chung, Chloe {PEP}" initials="CC{" userId="S::Chloe.Chung@pepsico.com::66693c35-e055-4c4c-b8f8-1335b6aef442" providerId="AD"/>
  <p188:author id="{C35FB062-1372-6CC3-4DA9-5A615159EEC5}" name="Walton, Catherine {PEP}" initials="WC{" userId="S::Catherine.Walton@pepsico.com::bfbd9cd2-703c-4afc-a58b-8c117451c638" providerId="AD"/>
  <p188:author id="{91272876-CAD9-F43B-7FA6-0F78C3C12259}" name="Parra, Shanna {PEP}" initials="PS{" userId="S::Shanna.Parra@pepsico.com::2808970f-6f44-4696-b120-4137f2ed6749" providerId="AD"/>
  <p188:author id="{07616177-2559-45F1-6BD4-2B46B40EC08C}" name="Jani, Victoria {PEP}" initials="J{" userId="S::victoria.jani@pepsico.com::1821d261-42d2-466f-b425-82b890a47147" providerId="AD"/>
  <p188:author id="{37A6C086-DC88-1E32-AFC9-2A6D3665B9BD}" name="Barbieri, Roberta {PEP}" initials="B{" userId="S::roberta.barbieri@pepsico.com::02d463e3-31be-4543-9635-215167b37761" providerId="AD"/>
  <p188:author id="{08D04289-D94C-2580-AA90-781D62DA2A33}" name="Haverson, Olivia {PEP}" initials="HO{" userId="S::Olivia.Haverson@pepsico.com::19f4feec-5d63-4129-b409-92df7b183df4" providerId="AD"/>
  <p188:author id="{717E7189-94F3-10E4-1BF2-6DFA6F8A996C}" name="Suarez Paz, Mariela {PEP}" initials="SPM{" userId="S::Mariela.SuarezPaz@pepsico.com::7fc53ac8-d257-482c-89c1-a5fb6c548cbb" providerId="AD"/>
  <p188:author id="{4269E78A-B7D9-ADE0-59BD-B7FADDF0A045}" name="Parra, Shanna {PEP}" initials="P{" userId="S::shanna.parra@pepsico.com::2808970f-6f44-4696-b120-4137f2ed6749" providerId="AD"/>
  <p188:author id="{60CD5EB0-C63D-7322-BF68-708685A402F4}" name="Chung, Chloe {PEP}" initials="C{" userId="S::chloe.chung@pepsico.com::66693c35-e055-4c4c-b8f8-1335b6aef442" providerId="AD"/>
  <p188:author id="{6A23FFB7-F0CC-045C-B7B9-63AFB4D7C22F}" name="Tamburro, Joseph {PEP}" initials="TJ{" userId="S::Joseph.Tamburro@pepsico.com::17333bd9-7b19-47d4-9bb2-dbef4fb4c8f5" providerId="AD"/>
  <p188:author id="{FBFA2BD0-B80B-34F3-23E4-E5054ED2392B}" name="Stradling, Emma {PEP}" initials="SE{" userId="S::Emma.Stradling@pepsico.com::1e0ef241-33a3-48c0-9a6d-5d9cb728139c" providerId="AD"/>
  <p188:author id="{6C5AD8E3-B43C-6081-2F53-2F3F3E98B37E}" name="Guest User" initials="GU" userId="S::urn:spo:anon#74c9fb912c562d2a38b593b1d5e373bc001b858958569d356fab648bc20dd169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mith, Meagan {PEP}" initials="SM{" lastIdx="26" clrIdx="0">
    <p:extLst>
      <p:ext uri="{19B8F6BF-5375-455C-9EA6-DF929625EA0E}">
        <p15:presenceInfo xmlns:p15="http://schemas.microsoft.com/office/powerpoint/2012/main" userId="S::Meagan.Smith@pepsico.com::330715a8-4d2f-4e72-b189-3d9c3c36dd13" providerId="AD"/>
      </p:ext>
    </p:extLst>
  </p:cmAuthor>
  <p:cmAuthor id="2" name="Kim, Wooyoung - Contractor {PEP}" initials="KW-C{" lastIdx="2" clrIdx="1">
    <p:extLst>
      <p:ext uri="{19B8F6BF-5375-455C-9EA6-DF929625EA0E}">
        <p15:presenceInfo xmlns:p15="http://schemas.microsoft.com/office/powerpoint/2012/main" userId="S::wooyoung.kim.contractor@pepsico.com::90e0b37e-577e-4be9-a5f4-d14d4d592b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B3FC"/>
    <a:srgbClr val="0065E5"/>
    <a:srgbClr val="092188"/>
    <a:srgbClr val="FFC62C"/>
    <a:srgbClr val="133CCF"/>
    <a:srgbClr val="011C89"/>
    <a:srgbClr val="0052DB"/>
    <a:srgbClr val="8FC0FF"/>
    <a:srgbClr val="011464"/>
    <a:srgbClr val="011D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AC17A0-14F9-4761-8041-1EAE54C598FD}" v="1" dt="2025-04-08T21:38:30.550"/>
    <p1510:client id="{78AC6B7B-FF10-40E5-8C65-AC13DA562166}" v="1" dt="2025-04-08T21:44:05.772"/>
  </p1510:revLst>
</p1510:revInfo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278" autoAdjust="0"/>
  </p:normalViewPr>
  <p:slideViewPr>
    <p:cSldViewPr snapToGrid="0">
      <p:cViewPr varScale="1">
        <p:scale>
          <a:sx n="105" d="100"/>
          <a:sy n="105" d="100"/>
        </p:scale>
        <p:origin x="79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8EC45F-FC05-4AF2-9AAC-FD516C04568D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8E1A4C3-6F3D-4CDD-A66F-5661A5D92331}">
      <dgm:prSet phldrT="[Text]"/>
      <dgm:spPr>
        <a:solidFill>
          <a:schemeClr val="accent1"/>
        </a:solidFill>
      </dgm:spPr>
      <dgm:t>
        <a:bodyPr/>
        <a:lstStyle/>
        <a:p>
          <a:r>
            <a:rPr lang="en-US"/>
            <a:t>Determine Cups</a:t>
          </a:r>
        </a:p>
      </dgm:t>
    </dgm:pt>
    <dgm:pt modelId="{94EAB332-5338-4246-8C5F-D5BF88BB7A0D}" type="parTrans" cxnId="{9D19D603-15C7-461A-B933-184BB1282688}">
      <dgm:prSet/>
      <dgm:spPr/>
      <dgm:t>
        <a:bodyPr/>
        <a:lstStyle/>
        <a:p>
          <a:endParaRPr lang="en-US"/>
        </a:p>
      </dgm:t>
    </dgm:pt>
    <dgm:pt modelId="{10EDB882-2C6B-4759-B034-E320923B03A5}" type="sibTrans" cxnId="{9D19D603-15C7-461A-B933-184BB1282688}">
      <dgm:prSet/>
      <dgm:spPr/>
      <dgm:t>
        <a:bodyPr/>
        <a:lstStyle/>
        <a:p>
          <a:endParaRPr lang="en-US"/>
        </a:p>
      </dgm:t>
    </dgm:pt>
    <dgm:pt modelId="{CC54DFFF-09A3-4BC9-942C-BF22BD0CB93E}">
      <dgm:prSet phldrT="[Text]"/>
      <dgm:spPr/>
      <dgm:t>
        <a:bodyPr/>
        <a:lstStyle/>
        <a:p>
          <a:r>
            <a:rPr lang="en-US"/>
            <a:t>Access Dishwashing</a:t>
          </a:r>
        </a:p>
      </dgm:t>
    </dgm:pt>
    <dgm:pt modelId="{67E368BD-C4E8-492E-A58A-DE0ED842E6D7}" type="parTrans" cxnId="{A90B9FFA-928F-4D4B-96E9-65408D7D8EF1}">
      <dgm:prSet/>
      <dgm:spPr/>
      <dgm:t>
        <a:bodyPr/>
        <a:lstStyle/>
        <a:p>
          <a:endParaRPr lang="en-US"/>
        </a:p>
      </dgm:t>
    </dgm:pt>
    <dgm:pt modelId="{E4982A6E-3B2A-4C2D-B439-F79991C3211B}" type="sibTrans" cxnId="{A90B9FFA-928F-4D4B-96E9-65408D7D8EF1}">
      <dgm:prSet/>
      <dgm:spPr/>
      <dgm:t>
        <a:bodyPr/>
        <a:lstStyle/>
        <a:p>
          <a:endParaRPr lang="en-US"/>
        </a:p>
      </dgm:t>
    </dgm:pt>
    <dgm:pt modelId="{8CE9B60D-EF36-4732-9D60-FDB03ADD341D}">
      <dgm:prSet phldrT="[Text]"/>
      <dgm:spPr/>
      <dgm:t>
        <a:bodyPr/>
        <a:lstStyle/>
        <a:p>
          <a:r>
            <a:rPr lang="en-US"/>
            <a:t>Order Assets </a:t>
          </a:r>
        </a:p>
      </dgm:t>
    </dgm:pt>
    <dgm:pt modelId="{AC962FBD-DE6D-4AF3-8504-7D6414913A70}" type="parTrans" cxnId="{C35B61E6-4E7B-4E30-B510-C1DC7BCA48DC}">
      <dgm:prSet/>
      <dgm:spPr/>
      <dgm:t>
        <a:bodyPr/>
        <a:lstStyle/>
        <a:p>
          <a:endParaRPr lang="en-US"/>
        </a:p>
      </dgm:t>
    </dgm:pt>
    <dgm:pt modelId="{58B25B17-48BE-4217-AFBA-3BF5C5E7ECBC}" type="sibTrans" cxnId="{C35B61E6-4E7B-4E30-B510-C1DC7BCA48DC}">
      <dgm:prSet/>
      <dgm:spPr/>
      <dgm:t>
        <a:bodyPr/>
        <a:lstStyle/>
        <a:p>
          <a:endParaRPr lang="en-US"/>
        </a:p>
      </dgm:t>
    </dgm:pt>
    <dgm:pt modelId="{006E4260-204C-49E9-A8A1-8D5EA91030D1}">
      <dgm:prSet/>
      <dgm:spPr/>
      <dgm:t>
        <a:bodyPr/>
        <a:lstStyle/>
        <a:p>
          <a:r>
            <a:rPr lang="en-US"/>
            <a:t>Train Staff</a:t>
          </a:r>
        </a:p>
      </dgm:t>
    </dgm:pt>
    <dgm:pt modelId="{69AF161A-057C-4BA9-8C32-AF8CC419D498}" type="parTrans" cxnId="{012F5AB7-D687-4ED4-95B4-BE22E64AD203}">
      <dgm:prSet/>
      <dgm:spPr/>
      <dgm:t>
        <a:bodyPr/>
        <a:lstStyle/>
        <a:p>
          <a:endParaRPr lang="en-US"/>
        </a:p>
      </dgm:t>
    </dgm:pt>
    <dgm:pt modelId="{1C89DC69-6EE1-4B98-AD4A-57D06BD092F2}" type="sibTrans" cxnId="{012F5AB7-D687-4ED4-95B4-BE22E64AD203}">
      <dgm:prSet/>
      <dgm:spPr/>
      <dgm:t>
        <a:bodyPr/>
        <a:lstStyle/>
        <a:p>
          <a:endParaRPr lang="en-US"/>
        </a:p>
      </dgm:t>
    </dgm:pt>
    <dgm:pt modelId="{2E47F27A-CE83-4173-9EA3-91F225966A57}">
      <dgm:prSet/>
      <dgm:spPr/>
      <dgm:t>
        <a:bodyPr/>
        <a:lstStyle/>
        <a:p>
          <a:r>
            <a:rPr lang="en-US"/>
            <a:t>Launch</a:t>
          </a:r>
        </a:p>
      </dgm:t>
    </dgm:pt>
    <dgm:pt modelId="{2253BE98-9B8D-4B49-AE32-12989E6FBE91}" type="parTrans" cxnId="{A2B0A79A-C6F5-493F-8A9D-B4E4081BAA0A}">
      <dgm:prSet/>
      <dgm:spPr/>
      <dgm:t>
        <a:bodyPr/>
        <a:lstStyle/>
        <a:p>
          <a:endParaRPr lang="en-US"/>
        </a:p>
      </dgm:t>
    </dgm:pt>
    <dgm:pt modelId="{754A2F1A-63CA-42AC-BAC9-384D367AF586}" type="sibTrans" cxnId="{A2B0A79A-C6F5-493F-8A9D-B4E4081BAA0A}">
      <dgm:prSet/>
      <dgm:spPr/>
      <dgm:t>
        <a:bodyPr/>
        <a:lstStyle/>
        <a:p>
          <a:endParaRPr lang="en-US"/>
        </a:p>
      </dgm:t>
    </dgm:pt>
    <dgm:pt modelId="{8EC78A4A-8089-4887-B78A-78CF21A7C897}" type="pres">
      <dgm:prSet presAssocID="{318EC45F-FC05-4AF2-9AAC-FD516C04568D}" presName="Name0" presStyleCnt="0">
        <dgm:presLayoutVars>
          <dgm:dir/>
          <dgm:animLvl val="lvl"/>
          <dgm:resizeHandles val="exact"/>
        </dgm:presLayoutVars>
      </dgm:prSet>
      <dgm:spPr/>
    </dgm:pt>
    <dgm:pt modelId="{796FCEA2-F41A-4F06-A29C-1686D4B8F080}" type="pres">
      <dgm:prSet presAssocID="{68E1A4C3-6F3D-4CDD-A66F-5661A5D92331}" presName="parTxOnly" presStyleLbl="node1" presStyleIdx="0" presStyleCnt="5" custLinFactNeighborX="-1123" custLinFactNeighborY="27534">
        <dgm:presLayoutVars>
          <dgm:chMax val="0"/>
          <dgm:chPref val="0"/>
          <dgm:bulletEnabled val="1"/>
        </dgm:presLayoutVars>
      </dgm:prSet>
      <dgm:spPr/>
    </dgm:pt>
    <dgm:pt modelId="{5F9ACE01-E75F-4F0F-A1BD-973676C5D540}" type="pres">
      <dgm:prSet presAssocID="{10EDB882-2C6B-4759-B034-E320923B03A5}" presName="parTxOnlySpace" presStyleCnt="0"/>
      <dgm:spPr/>
    </dgm:pt>
    <dgm:pt modelId="{23C99FE3-3AF6-404D-A67B-869DD2EC40F1}" type="pres">
      <dgm:prSet presAssocID="{CC54DFFF-09A3-4BC9-942C-BF22BD0CB93E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2DE9F752-1EC2-4529-8688-6A7AC827C577}" type="pres">
      <dgm:prSet presAssocID="{E4982A6E-3B2A-4C2D-B439-F79991C3211B}" presName="parTxOnlySpace" presStyleCnt="0"/>
      <dgm:spPr/>
    </dgm:pt>
    <dgm:pt modelId="{A5E57062-AC2A-4FA4-9FC7-F1EC61807278}" type="pres">
      <dgm:prSet presAssocID="{8CE9B60D-EF36-4732-9D60-FDB03ADD341D}" presName="parTxOnly" presStyleLbl="node1" presStyleIdx="2" presStyleCnt="5" custLinFactNeighborX="-2909" custLinFactNeighborY="79199">
        <dgm:presLayoutVars>
          <dgm:chMax val="0"/>
          <dgm:chPref val="0"/>
          <dgm:bulletEnabled val="1"/>
        </dgm:presLayoutVars>
      </dgm:prSet>
      <dgm:spPr/>
    </dgm:pt>
    <dgm:pt modelId="{06E0F75B-1CDF-4D44-BC44-5C36B720B10A}" type="pres">
      <dgm:prSet presAssocID="{58B25B17-48BE-4217-AFBA-3BF5C5E7ECBC}" presName="parTxOnlySpace" presStyleCnt="0"/>
      <dgm:spPr/>
    </dgm:pt>
    <dgm:pt modelId="{E7234C5F-185A-478F-B918-2AD9604A1C96}" type="pres">
      <dgm:prSet presAssocID="{006E4260-204C-49E9-A8A1-8D5EA91030D1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D54D1E28-8321-495B-9477-A685A45D3778}" type="pres">
      <dgm:prSet presAssocID="{1C89DC69-6EE1-4B98-AD4A-57D06BD092F2}" presName="parTxOnlySpace" presStyleCnt="0"/>
      <dgm:spPr/>
    </dgm:pt>
    <dgm:pt modelId="{0C0F6150-FD94-4B00-B0C3-5299B39950CA}" type="pres">
      <dgm:prSet presAssocID="{2E47F27A-CE83-4173-9EA3-91F225966A57}" presName="parTxOnly" presStyleLbl="node1" presStyleIdx="4" presStyleCnt="5" custLinFactY="47874" custLinFactNeighborX="22759" custLinFactNeighborY="100000">
        <dgm:presLayoutVars>
          <dgm:chMax val="0"/>
          <dgm:chPref val="0"/>
          <dgm:bulletEnabled val="1"/>
        </dgm:presLayoutVars>
      </dgm:prSet>
      <dgm:spPr/>
    </dgm:pt>
  </dgm:ptLst>
  <dgm:cxnLst>
    <dgm:cxn modelId="{9D19D603-15C7-461A-B933-184BB1282688}" srcId="{318EC45F-FC05-4AF2-9AAC-FD516C04568D}" destId="{68E1A4C3-6F3D-4CDD-A66F-5661A5D92331}" srcOrd="0" destOrd="0" parTransId="{94EAB332-5338-4246-8C5F-D5BF88BB7A0D}" sibTransId="{10EDB882-2C6B-4759-B034-E320923B03A5}"/>
    <dgm:cxn modelId="{4B55460A-998D-490B-B3FB-878BFB2E680E}" type="presOf" srcId="{CC54DFFF-09A3-4BC9-942C-BF22BD0CB93E}" destId="{23C99FE3-3AF6-404D-A67B-869DD2EC40F1}" srcOrd="0" destOrd="0" presId="urn:microsoft.com/office/officeart/2005/8/layout/chevron1"/>
    <dgm:cxn modelId="{159C551F-7232-4739-AE88-7A9FE48DE5CB}" type="presOf" srcId="{8CE9B60D-EF36-4732-9D60-FDB03ADD341D}" destId="{A5E57062-AC2A-4FA4-9FC7-F1EC61807278}" srcOrd="0" destOrd="0" presId="urn:microsoft.com/office/officeart/2005/8/layout/chevron1"/>
    <dgm:cxn modelId="{542E622E-2E54-4A66-B05F-04D27E36B428}" type="presOf" srcId="{006E4260-204C-49E9-A8A1-8D5EA91030D1}" destId="{E7234C5F-185A-478F-B918-2AD9604A1C96}" srcOrd="0" destOrd="0" presId="urn:microsoft.com/office/officeart/2005/8/layout/chevron1"/>
    <dgm:cxn modelId="{391C6330-AAE8-47D0-A629-FF5B9C331F46}" type="presOf" srcId="{318EC45F-FC05-4AF2-9AAC-FD516C04568D}" destId="{8EC78A4A-8089-4887-B78A-78CF21A7C897}" srcOrd="0" destOrd="0" presId="urn:microsoft.com/office/officeart/2005/8/layout/chevron1"/>
    <dgm:cxn modelId="{1803794B-DE8A-492A-9815-C4CC5E778760}" type="presOf" srcId="{68E1A4C3-6F3D-4CDD-A66F-5661A5D92331}" destId="{796FCEA2-F41A-4F06-A29C-1686D4B8F080}" srcOrd="0" destOrd="0" presId="urn:microsoft.com/office/officeart/2005/8/layout/chevron1"/>
    <dgm:cxn modelId="{2EAAA994-1457-44B4-B924-1BBE6D2EE038}" type="presOf" srcId="{2E47F27A-CE83-4173-9EA3-91F225966A57}" destId="{0C0F6150-FD94-4B00-B0C3-5299B39950CA}" srcOrd="0" destOrd="0" presId="urn:microsoft.com/office/officeart/2005/8/layout/chevron1"/>
    <dgm:cxn modelId="{A2B0A79A-C6F5-493F-8A9D-B4E4081BAA0A}" srcId="{318EC45F-FC05-4AF2-9AAC-FD516C04568D}" destId="{2E47F27A-CE83-4173-9EA3-91F225966A57}" srcOrd="4" destOrd="0" parTransId="{2253BE98-9B8D-4B49-AE32-12989E6FBE91}" sibTransId="{754A2F1A-63CA-42AC-BAC9-384D367AF586}"/>
    <dgm:cxn modelId="{012F5AB7-D687-4ED4-95B4-BE22E64AD203}" srcId="{318EC45F-FC05-4AF2-9AAC-FD516C04568D}" destId="{006E4260-204C-49E9-A8A1-8D5EA91030D1}" srcOrd="3" destOrd="0" parTransId="{69AF161A-057C-4BA9-8C32-AF8CC419D498}" sibTransId="{1C89DC69-6EE1-4B98-AD4A-57D06BD092F2}"/>
    <dgm:cxn modelId="{C35B61E6-4E7B-4E30-B510-C1DC7BCA48DC}" srcId="{318EC45F-FC05-4AF2-9AAC-FD516C04568D}" destId="{8CE9B60D-EF36-4732-9D60-FDB03ADD341D}" srcOrd="2" destOrd="0" parTransId="{AC962FBD-DE6D-4AF3-8504-7D6414913A70}" sibTransId="{58B25B17-48BE-4217-AFBA-3BF5C5E7ECBC}"/>
    <dgm:cxn modelId="{A90B9FFA-928F-4D4B-96E9-65408D7D8EF1}" srcId="{318EC45F-FC05-4AF2-9AAC-FD516C04568D}" destId="{CC54DFFF-09A3-4BC9-942C-BF22BD0CB93E}" srcOrd="1" destOrd="0" parTransId="{67E368BD-C4E8-492E-A58A-DE0ED842E6D7}" sibTransId="{E4982A6E-3B2A-4C2D-B439-F79991C3211B}"/>
    <dgm:cxn modelId="{E02834D9-09B1-4869-A225-A6CDAC9366B9}" type="presParOf" srcId="{8EC78A4A-8089-4887-B78A-78CF21A7C897}" destId="{796FCEA2-F41A-4F06-A29C-1686D4B8F080}" srcOrd="0" destOrd="0" presId="urn:microsoft.com/office/officeart/2005/8/layout/chevron1"/>
    <dgm:cxn modelId="{EEF9AE88-10A7-4CA0-9953-C32A5236256E}" type="presParOf" srcId="{8EC78A4A-8089-4887-B78A-78CF21A7C897}" destId="{5F9ACE01-E75F-4F0F-A1BD-973676C5D540}" srcOrd="1" destOrd="0" presId="urn:microsoft.com/office/officeart/2005/8/layout/chevron1"/>
    <dgm:cxn modelId="{3557E5AC-5C89-4901-A44E-368B1301C174}" type="presParOf" srcId="{8EC78A4A-8089-4887-B78A-78CF21A7C897}" destId="{23C99FE3-3AF6-404D-A67B-869DD2EC40F1}" srcOrd="2" destOrd="0" presId="urn:microsoft.com/office/officeart/2005/8/layout/chevron1"/>
    <dgm:cxn modelId="{30C534CE-DDFE-45BE-8002-E29C7CB5EB39}" type="presParOf" srcId="{8EC78A4A-8089-4887-B78A-78CF21A7C897}" destId="{2DE9F752-1EC2-4529-8688-6A7AC827C577}" srcOrd="3" destOrd="0" presId="urn:microsoft.com/office/officeart/2005/8/layout/chevron1"/>
    <dgm:cxn modelId="{4438D713-64AA-4438-8662-F1785E540FD9}" type="presParOf" srcId="{8EC78A4A-8089-4887-B78A-78CF21A7C897}" destId="{A5E57062-AC2A-4FA4-9FC7-F1EC61807278}" srcOrd="4" destOrd="0" presId="urn:microsoft.com/office/officeart/2005/8/layout/chevron1"/>
    <dgm:cxn modelId="{75DC129A-6A68-4845-8167-82DEA6A3B650}" type="presParOf" srcId="{8EC78A4A-8089-4887-B78A-78CF21A7C897}" destId="{06E0F75B-1CDF-4D44-BC44-5C36B720B10A}" srcOrd="5" destOrd="0" presId="urn:microsoft.com/office/officeart/2005/8/layout/chevron1"/>
    <dgm:cxn modelId="{2097174A-57B9-4384-8C6C-0183A3131476}" type="presParOf" srcId="{8EC78A4A-8089-4887-B78A-78CF21A7C897}" destId="{E7234C5F-185A-478F-B918-2AD9604A1C96}" srcOrd="6" destOrd="0" presId="urn:microsoft.com/office/officeart/2005/8/layout/chevron1"/>
    <dgm:cxn modelId="{3523660A-5391-4A6B-B8B1-FFF562256CC1}" type="presParOf" srcId="{8EC78A4A-8089-4887-B78A-78CF21A7C897}" destId="{D54D1E28-8321-495B-9477-A685A45D3778}" srcOrd="7" destOrd="0" presId="urn:microsoft.com/office/officeart/2005/8/layout/chevron1"/>
    <dgm:cxn modelId="{59D95D5F-15EC-4A74-AEC5-14C9F0724E91}" type="presParOf" srcId="{8EC78A4A-8089-4887-B78A-78CF21A7C897}" destId="{0C0F6150-FD94-4B00-B0C3-5299B39950CA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6FCEA2-F41A-4F06-A29C-1686D4B8F080}">
      <dsp:nvSpPr>
        <dsp:cNvPr id="0" name=""/>
        <dsp:cNvSpPr/>
      </dsp:nvSpPr>
      <dsp:spPr>
        <a:xfrm>
          <a:off x="1" y="0"/>
          <a:ext cx="2182625" cy="485821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etermine Cups</a:t>
          </a:r>
        </a:p>
      </dsp:txBody>
      <dsp:txXfrm>
        <a:off x="242912" y="0"/>
        <a:ext cx="1696804" cy="485821"/>
      </dsp:txXfrm>
    </dsp:sp>
    <dsp:sp modelId="{23C99FE3-3AF6-404D-A67B-869DD2EC40F1}">
      <dsp:nvSpPr>
        <dsp:cNvPr id="0" name=""/>
        <dsp:cNvSpPr/>
      </dsp:nvSpPr>
      <dsp:spPr>
        <a:xfrm>
          <a:off x="1966815" y="0"/>
          <a:ext cx="2182625" cy="485821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Access Dishwashing</a:t>
          </a:r>
        </a:p>
      </dsp:txBody>
      <dsp:txXfrm>
        <a:off x="2209726" y="0"/>
        <a:ext cx="1696804" cy="485821"/>
      </dsp:txXfrm>
    </dsp:sp>
    <dsp:sp modelId="{A5E57062-AC2A-4FA4-9FC7-F1EC61807278}">
      <dsp:nvSpPr>
        <dsp:cNvPr id="0" name=""/>
        <dsp:cNvSpPr/>
      </dsp:nvSpPr>
      <dsp:spPr>
        <a:xfrm>
          <a:off x="3924829" y="0"/>
          <a:ext cx="2182625" cy="485821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Order Assets </a:t>
          </a:r>
        </a:p>
      </dsp:txBody>
      <dsp:txXfrm>
        <a:off x="4167740" y="0"/>
        <a:ext cx="1696804" cy="485821"/>
      </dsp:txXfrm>
    </dsp:sp>
    <dsp:sp modelId="{E7234C5F-185A-478F-B918-2AD9604A1C96}">
      <dsp:nvSpPr>
        <dsp:cNvPr id="0" name=""/>
        <dsp:cNvSpPr/>
      </dsp:nvSpPr>
      <dsp:spPr>
        <a:xfrm>
          <a:off x="5895541" y="0"/>
          <a:ext cx="2182625" cy="485821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Train Staff</a:t>
          </a:r>
        </a:p>
      </dsp:txBody>
      <dsp:txXfrm>
        <a:off x="6138452" y="0"/>
        <a:ext cx="1696804" cy="485821"/>
      </dsp:txXfrm>
    </dsp:sp>
    <dsp:sp modelId="{0C0F6150-FD94-4B00-B0C3-5299B39950CA}">
      <dsp:nvSpPr>
        <dsp:cNvPr id="0" name=""/>
        <dsp:cNvSpPr/>
      </dsp:nvSpPr>
      <dsp:spPr>
        <a:xfrm>
          <a:off x="7862356" y="0"/>
          <a:ext cx="2182625" cy="485821"/>
        </a:xfrm>
        <a:prstGeom prst="chevron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Launch</a:t>
          </a:r>
        </a:p>
      </dsp:txBody>
      <dsp:txXfrm>
        <a:off x="8105267" y="0"/>
        <a:ext cx="1696804" cy="4858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E21223-66CE-4215-A63F-27079EE36F6F}" type="datetimeFigureOut">
              <a:rPr lang="en-US" smtClean="0"/>
              <a:t>4/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2A7104-55CD-419E-B506-583C6A7862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72090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B1574492-103F-B34E-BE3B-6122011F1595}" type="datetimeFigureOut">
              <a:rPr lang="en-US" smtClean="0"/>
              <a:pPr/>
              <a:t>4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712622A2-3E00-2A4D-8E5C-1BC3C6BDB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097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CB868C-22C3-4AC1-9B68-0ADE30B9B1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61642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ners for Tomorrow – a suite of sustainability solutions available to value chain partners, notably our customers. The program was named the “sustainability initiative of the year” by Business Intelligence Group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have launched programs with partners in agriculture, we have a number of sources available for our customers and partners to leverage – e.g. the sustainability summit and the sustainability action center and we launched pep+ renew which helps our partners to convert to renewable energy. The two categories of solutions we’re going to focus on today are packaging and recycl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partnersfortomorrow.co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965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prstClr val="black"/>
              </a:buClr>
              <a:buSzPts val="800"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4891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prstClr val="black"/>
              </a:buClr>
              <a:buSzPts val="800"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56432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</a:t>
            </a:r>
            <a:r>
              <a:rPr lang="en-US" err="1"/>
              <a:t>Pree</a:t>
            </a:r>
            <a:r>
              <a:rPr lang="en-US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955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4.bin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oleObject" Target="../embeddings/oleObject85.bin"/><Relationship Id="rId7" Type="http://schemas.openxmlformats.org/officeDocument/2006/relationships/image" Target="../media/image13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6" Type="http://schemas.openxmlformats.org/officeDocument/2006/relationships/image" Target="../media/image128.png"/><Relationship Id="rId5" Type="http://schemas.openxmlformats.org/officeDocument/2006/relationships/image" Target="../media/image138.png"/><Relationship Id="rId10" Type="http://schemas.openxmlformats.org/officeDocument/2006/relationships/image" Target="../media/image141.png"/><Relationship Id="rId4" Type="http://schemas.openxmlformats.org/officeDocument/2006/relationships/image" Target="../media/image125.emf"/><Relationship Id="rId9" Type="http://schemas.openxmlformats.org/officeDocument/2006/relationships/image" Target="../media/image141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6" Type="http://schemas.openxmlformats.org/officeDocument/2006/relationships/image" Target="../media/image128.png"/><Relationship Id="rId5" Type="http://schemas.openxmlformats.org/officeDocument/2006/relationships/image" Target="../media/image142.jpeg"/><Relationship Id="rId4" Type="http://schemas.openxmlformats.org/officeDocument/2006/relationships/image" Target="../media/image125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6" Type="http://schemas.openxmlformats.org/officeDocument/2006/relationships/image" Target="../media/image144.png"/><Relationship Id="rId5" Type="http://schemas.openxmlformats.org/officeDocument/2006/relationships/image" Target="../media/image135.jpeg"/><Relationship Id="rId4" Type="http://schemas.openxmlformats.org/officeDocument/2006/relationships/image" Target="../media/image143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6" Type="http://schemas.openxmlformats.org/officeDocument/2006/relationships/image" Target="../media/image146.png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9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oleObject" Target="../embeddings/oleObject90.bin"/><Relationship Id="rId7" Type="http://schemas.openxmlformats.org/officeDocument/2006/relationships/image" Target="../media/image14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10" Type="http://schemas.openxmlformats.org/officeDocument/2006/relationships/image" Target="../media/image152.png"/><Relationship Id="rId4" Type="http://schemas.openxmlformats.org/officeDocument/2006/relationships/image" Target="../media/image143.emf"/><Relationship Id="rId9" Type="http://schemas.openxmlformats.org/officeDocument/2006/relationships/image" Target="../media/image151.png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oleObject" Target="../embeddings/oleObject91.bin"/><Relationship Id="rId7" Type="http://schemas.openxmlformats.org/officeDocument/2006/relationships/image" Target="../media/image15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6" Type="http://schemas.openxmlformats.org/officeDocument/2006/relationships/image" Target="../media/image154.png"/><Relationship Id="rId5" Type="http://schemas.openxmlformats.org/officeDocument/2006/relationships/image" Target="../media/image153.png"/><Relationship Id="rId4" Type="http://schemas.openxmlformats.org/officeDocument/2006/relationships/image" Target="../media/image143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8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Relationship Id="rId5" Type="http://schemas.openxmlformats.org/officeDocument/2006/relationships/image" Target="../media/image157.png"/><Relationship Id="rId4" Type="http://schemas.openxmlformats.org/officeDocument/2006/relationships/image" Target="../media/image143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4" Type="http://schemas.openxmlformats.org/officeDocument/2006/relationships/image" Target="../media/image12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4" Type="http://schemas.openxmlformats.org/officeDocument/2006/relationships/image" Target="../media/image143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Relationship Id="rId4" Type="http://schemas.openxmlformats.org/officeDocument/2006/relationships/image" Target="../media/image143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4" Type="http://schemas.openxmlformats.org/officeDocument/2006/relationships/image" Target="../media/image143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4" Type="http://schemas.openxmlformats.org/officeDocument/2006/relationships/image" Target="../media/image122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98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9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svg"/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3" Type="http://schemas.openxmlformats.org/officeDocument/2006/relationships/image" Target="../media/image165.svg"/><Relationship Id="rId7" Type="http://schemas.openxmlformats.org/officeDocument/2006/relationships/image" Target="../media/image168.svg"/><Relationship Id="rId12" Type="http://schemas.openxmlformats.org/officeDocument/2006/relationships/image" Target="../media/image173.svg"/><Relationship Id="rId2" Type="http://schemas.openxmlformats.org/officeDocument/2006/relationships/image" Target="../media/image164.png"/><Relationship Id="rId16" Type="http://schemas.openxmlformats.org/officeDocument/2006/relationships/image" Target="../media/image177.sv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2.png"/><Relationship Id="rId11" Type="http://schemas.openxmlformats.org/officeDocument/2006/relationships/image" Target="../media/image172.png"/><Relationship Id="rId5" Type="http://schemas.openxmlformats.org/officeDocument/2006/relationships/image" Target="../media/image167.svg"/><Relationship Id="rId15" Type="http://schemas.openxmlformats.org/officeDocument/2006/relationships/image" Target="../media/image176.png"/><Relationship Id="rId10" Type="http://schemas.openxmlformats.org/officeDocument/2006/relationships/image" Target="../media/image171.png"/><Relationship Id="rId4" Type="http://schemas.openxmlformats.org/officeDocument/2006/relationships/image" Target="../media/image166.png"/><Relationship Id="rId9" Type="http://schemas.openxmlformats.org/officeDocument/2006/relationships/image" Target="../media/image170.png"/><Relationship Id="rId14" Type="http://schemas.openxmlformats.org/officeDocument/2006/relationships/image" Target="../media/image175.sv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7.jpeg"/><Relationship Id="rId13" Type="http://schemas.openxmlformats.org/officeDocument/2006/relationships/image" Target="../media/image192.svg"/><Relationship Id="rId18" Type="http://schemas.openxmlformats.org/officeDocument/2006/relationships/image" Target="../media/image197.png"/><Relationship Id="rId3" Type="http://schemas.openxmlformats.org/officeDocument/2006/relationships/image" Target="../media/image182.png"/><Relationship Id="rId21" Type="http://schemas.openxmlformats.org/officeDocument/2006/relationships/hyperlink" Target="https://www.pepsico.com/our-impact/esg-topics-a-z/calculation-methodology" TargetMode="External"/><Relationship Id="rId7" Type="http://schemas.openxmlformats.org/officeDocument/2006/relationships/image" Target="../media/image186.jpeg"/><Relationship Id="rId12" Type="http://schemas.openxmlformats.org/officeDocument/2006/relationships/image" Target="../media/image191.png"/><Relationship Id="rId17" Type="http://schemas.openxmlformats.org/officeDocument/2006/relationships/image" Target="../media/image196.svg"/><Relationship Id="rId2" Type="http://schemas.openxmlformats.org/officeDocument/2006/relationships/image" Target="../media/image181.jpeg"/><Relationship Id="rId16" Type="http://schemas.openxmlformats.org/officeDocument/2006/relationships/image" Target="../media/image195.png"/><Relationship Id="rId20" Type="http://schemas.openxmlformats.org/officeDocument/2006/relationships/image" Target="../media/image19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5.svg"/><Relationship Id="rId11" Type="http://schemas.openxmlformats.org/officeDocument/2006/relationships/image" Target="../media/image190.svg"/><Relationship Id="rId5" Type="http://schemas.openxmlformats.org/officeDocument/2006/relationships/image" Target="../media/image184.png"/><Relationship Id="rId15" Type="http://schemas.openxmlformats.org/officeDocument/2006/relationships/image" Target="../media/image194.svg"/><Relationship Id="rId10" Type="http://schemas.openxmlformats.org/officeDocument/2006/relationships/image" Target="../media/image189.png"/><Relationship Id="rId19" Type="http://schemas.openxmlformats.org/officeDocument/2006/relationships/image" Target="../media/image198.png"/><Relationship Id="rId4" Type="http://schemas.openxmlformats.org/officeDocument/2006/relationships/image" Target="../media/image183.svg"/><Relationship Id="rId9" Type="http://schemas.openxmlformats.org/officeDocument/2006/relationships/image" Target="../media/image188.jpeg"/><Relationship Id="rId14" Type="http://schemas.openxmlformats.org/officeDocument/2006/relationships/image" Target="../media/image193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0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4.svg"/><Relationship Id="rId3" Type="http://schemas.openxmlformats.org/officeDocument/2006/relationships/image" Target="../media/image201.svg"/><Relationship Id="rId7" Type="http://schemas.openxmlformats.org/officeDocument/2006/relationships/image" Target="../media/image203.png"/><Relationship Id="rId12" Type="http://schemas.openxmlformats.org/officeDocument/2006/relationships/image" Target="../media/image206.svg"/><Relationship Id="rId2" Type="http://schemas.openxmlformats.org/officeDocument/2006/relationships/image" Target="../media/image20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2.png"/><Relationship Id="rId11" Type="http://schemas.openxmlformats.org/officeDocument/2006/relationships/image" Target="../media/image205.png"/><Relationship Id="rId5" Type="http://schemas.openxmlformats.org/officeDocument/2006/relationships/image" Target="../media/image180.svg"/><Relationship Id="rId10" Type="http://schemas.openxmlformats.org/officeDocument/2006/relationships/image" Target="../media/image183.svg"/><Relationship Id="rId4" Type="http://schemas.openxmlformats.org/officeDocument/2006/relationships/image" Target="../media/image179.png"/><Relationship Id="rId9" Type="http://schemas.openxmlformats.org/officeDocument/2006/relationships/image" Target="../media/image182.png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17.bin"/><Relationship Id="rId7" Type="http://schemas.openxmlformats.org/officeDocument/2006/relationships/image" Target="../media/image2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5.emf"/><Relationship Id="rId5" Type="http://schemas.openxmlformats.org/officeDocument/2006/relationships/image" Target="../media/image23.emf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8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oleObject" Target="../embeddings/oleObject22.bin"/><Relationship Id="rId7" Type="http://schemas.openxmlformats.org/officeDocument/2006/relationships/image" Target="../media/image3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3.jpeg"/><Relationship Id="rId11" Type="http://schemas.openxmlformats.org/officeDocument/2006/relationships/image" Target="../media/image38.emf"/><Relationship Id="rId5" Type="http://schemas.openxmlformats.org/officeDocument/2006/relationships/image" Target="../media/image32.emf"/><Relationship Id="rId10" Type="http://schemas.openxmlformats.org/officeDocument/2006/relationships/image" Target="../media/image37.emf"/><Relationship Id="rId4" Type="http://schemas.openxmlformats.org/officeDocument/2006/relationships/image" Target="../media/image2.emf"/><Relationship Id="rId9" Type="http://schemas.openxmlformats.org/officeDocument/2006/relationships/image" Target="../media/image36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image" Target="../media/image32.emf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9.jpeg"/><Relationship Id="rId5" Type="http://schemas.openxmlformats.org/officeDocument/2006/relationships/image" Target="../media/image2.emf"/><Relationship Id="rId10" Type="http://schemas.openxmlformats.org/officeDocument/2006/relationships/image" Target="../media/image38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37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4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40.pn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4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41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5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42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43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4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44.emf"/><Relationship Id="rId5" Type="http://schemas.openxmlformats.org/officeDocument/2006/relationships/image" Target="../media/image32.emf"/><Relationship Id="rId4" Type="http://schemas.openxmlformats.org/officeDocument/2006/relationships/image" Target="../media/image2.emf"/><Relationship Id="rId9" Type="http://schemas.openxmlformats.org/officeDocument/2006/relationships/image" Target="../media/image47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oleObject" Target="../embeddings/oleObject28.bin"/><Relationship Id="rId7" Type="http://schemas.openxmlformats.org/officeDocument/2006/relationships/image" Target="../media/image4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8.jpeg"/><Relationship Id="rId5" Type="http://schemas.openxmlformats.org/officeDocument/2006/relationships/image" Target="../media/image32.emf"/><Relationship Id="rId4" Type="http://schemas.openxmlformats.org/officeDocument/2006/relationships/image" Target="../media/image2.emf"/><Relationship Id="rId9" Type="http://schemas.openxmlformats.org/officeDocument/2006/relationships/image" Target="../media/image4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4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6.emf"/><Relationship Id="rId5" Type="http://schemas.openxmlformats.org/officeDocument/2006/relationships/image" Target="../media/image30.emf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50.emf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51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22.emf"/><Relationship Id="rId5" Type="http://schemas.openxmlformats.org/officeDocument/2006/relationships/image" Target="../media/image52.emf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22.emf"/><Relationship Id="rId5" Type="http://schemas.openxmlformats.org/officeDocument/2006/relationships/image" Target="../media/image53.emf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oleObject" Target="../embeddings/oleObject36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5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29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5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5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oleObject" Target="../embeddings/oleObject40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57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56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59.emf"/><Relationship Id="rId5" Type="http://schemas.openxmlformats.org/officeDocument/2006/relationships/image" Target="../media/image58.emf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59.emf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48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61.emf"/><Relationship Id="rId5" Type="http://schemas.openxmlformats.org/officeDocument/2006/relationships/image" Target="../media/image60.png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49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61.emf"/><Relationship Id="rId5" Type="http://schemas.openxmlformats.org/officeDocument/2006/relationships/image" Target="../media/image62.jpe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6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0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61.emf"/><Relationship Id="rId5" Type="http://schemas.openxmlformats.org/officeDocument/2006/relationships/image" Target="../media/image63.jpeg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1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61.emf"/><Relationship Id="rId5" Type="http://schemas.openxmlformats.org/officeDocument/2006/relationships/image" Target="../media/image64.jpe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61.emf"/><Relationship Id="rId5" Type="http://schemas.openxmlformats.org/officeDocument/2006/relationships/image" Target="../media/image65.jpe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3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61.emf"/><Relationship Id="rId5" Type="http://schemas.openxmlformats.org/officeDocument/2006/relationships/image" Target="../media/image66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6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22.emf"/><Relationship Id="rId5" Type="http://schemas.openxmlformats.org/officeDocument/2006/relationships/image" Target="../media/image67.emf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5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70.pn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6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73.jpe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7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74.pn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8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6" Type="http://schemas.openxmlformats.org/officeDocument/2006/relationships/image" Target="../media/image75.jpe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59.bin"/><Relationship Id="rId7" Type="http://schemas.openxmlformats.org/officeDocument/2006/relationships/image" Target="../media/image7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6.emf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7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3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60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6" Type="http://schemas.openxmlformats.org/officeDocument/2006/relationships/image" Target="../media/image79.png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61.bin"/><Relationship Id="rId7" Type="http://schemas.openxmlformats.org/officeDocument/2006/relationships/image" Target="../media/image8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6.emf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6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6" Type="http://schemas.openxmlformats.org/officeDocument/2006/relationships/image" Target="../media/image8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8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7" Type="http://schemas.openxmlformats.org/officeDocument/2006/relationships/image" Target="../media/image8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2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9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8.bin"/><Relationship Id="rId7" Type="http://schemas.openxmlformats.org/officeDocument/2006/relationships/image" Target="../media/image1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0.pn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png"/><Relationship Id="rId4" Type="http://schemas.openxmlformats.org/officeDocument/2006/relationships/image" Target="../media/image98.png"/><Relationship Id="rId9" Type="http://schemas.openxmlformats.org/officeDocument/2006/relationships/image" Target="../media/image103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7.png"/><Relationship Id="rId4" Type="http://schemas.openxmlformats.org/officeDocument/2006/relationships/image" Target="../media/image11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1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8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6" Type="http://schemas.openxmlformats.org/officeDocument/2006/relationships/image" Target="../media/image124.png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6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4" Type="http://schemas.openxmlformats.org/officeDocument/2006/relationships/image" Target="../media/image12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12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7" Type="http://schemas.openxmlformats.org/officeDocument/2006/relationships/image" Target="../media/image12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6" Type="http://schemas.openxmlformats.org/officeDocument/2006/relationships/image" Target="../media/image127.png"/><Relationship Id="rId5" Type="http://schemas.openxmlformats.org/officeDocument/2006/relationships/image" Target="../media/image126.jpeg"/><Relationship Id="rId4" Type="http://schemas.openxmlformats.org/officeDocument/2006/relationships/image" Target="../media/image125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0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image" Target="../media/image2.emf"/><Relationship Id="rId9" Type="http://schemas.openxmlformats.org/officeDocument/2006/relationships/image" Target="../media/image4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6" Type="http://schemas.openxmlformats.org/officeDocument/2006/relationships/image" Target="../media/image129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6" Type="http://schemas.openxmlformats.org/officeDocument/2006/relationships/image" Target="../media/image130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4" Type="http://schemas.openxmlformats.org/officeDocument/2006/relationships/image" Target="../media/image12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75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3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6" Type="http://schemas.openxmlformats.org/officeDocument/2006/relationships/image" Target="../media/image132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4" Type="http://schemas.openxmlformats.org/officeDocument/2006/relationships/image" Target="../media/image12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7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6" Type="http://schemas.openxmlformats.org/officeDocument/2006/relationships/image" Target="../media/image135.jpe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4" Type="http://schemas.openxmlformats.org/officeDocument/2006/relationships/image" Target="../media/image12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6" Type="http://schemas.openxmlformats.org/officeDocument/2006/relationships/image" Target="../media/image128.png"/><Relationship Id="rId5" Type="http://schemas.openxmlformats.org/officeDocument/2006/relationships/image" Target="../media/image136.png"/><Relationship Id="rId4" Type="http://schemas.openxmlformats.org/officeDocument/2006/relationships/image" Target="../media/image12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F5283D-7852-B68B-630F-C31B84D50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389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F5283D-7852-B68B-630F-C31B84D50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04477DA-D9A2-C10A-D38B-113AA2EAB8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369" t="3331" r="3369" b="3369"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69AA76A-63B0-043E-9580-A15A6FEFC1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E964DB-0B7D-6EBB-6725-1A820FD136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4CCFC-D2B6-AED8-CDA0-B163BD4463C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BCCFC-0390-34AE-3F80-B46BBA62BC2A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168E1A-69DF-F63E-2AE8-B60DB7234A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75E2E-3984-0B40-73A8-B7CC4A2B19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6261FB-107B-F06A-B395-518E576232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54340-675F-F707-4E34-A216647E173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3F967-EC41-F0EA-462E-6FA837216E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CDF6FE-CD83-9225-B5BE-6792B764FB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1184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64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DA9054-7CE1-745E-E670-5377D98582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5091" r="11852" b="-41"/>
          <a:stretch/>
        </p:blipFill>
        <p:spPr>
          <a:xfrm>
            <a:off x="0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653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1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chemeClr val="accent3">
                  <a:lumMod val="75000"/>
                  <a:alpha val="30000"/>
                </a:schemeClr>
              </a:gs>
              <a:gs pos="43000">
                <a:schemeClr val="accent3">
                  <a:alpha val="30000"/>
                </a:schemeClr>
              </a:gs>
              <a:gs pos="0">
                <a:schemeClr val="accent3">
                  <a:lumMod val="50000"/>
                  <a:alpha val="30000"/>
                </a:schemeClr>
              </a:gs>
              <a:gs pos="100000">
                <a:schemeClr val="accent3">
                  <a:lumMod val="50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5032129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605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rgbClr val="4CAF40">
                  <a:lumMod val="90000"/>
                  <a:lumOff val="10000"/>
                  <a:alpha val="30000"/>
                </a:srgbClr>
              </a:gs>
              <a:gs pos="43000">
                <a:schemeClr val="accent5">
                  <a:lumMod val="93000"/>
                  <a:lumOff val="7000"/>
                  <a:alpha val="30000"/>
                </a:schemeClr>
              </a:gs>
              <a:gs pos="0">
                <a:schemeClr val="accent4">
                  <a:lumMod val="75000"/>
                  <a:alpha val="30000"/>
                </a:schemeClr>
              </a:gs>
              <a:gs pos="100000">
                <a:schemeClr val="accent4">
                  <a:lumMod val="79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2150561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334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chemeClr val="accent6">
                  <a:alpha val="30000"/>
                </a:schemeClr>
              </a:gs>
              <a:gs pos="43000">
                <a:schemeClr val="accent6">
                  <a:lumMod val="75000"/>
                  <a:alpha val="30000"/>
                </a:schemeClr>
              </a:gs>
              <a:gs pos="0">
                <a:schemeClr val="accent6">
                  <a:lumMod val="75000"/>
                  <a:alpha val="30000"/>
                </a:schemeClr>
              </a:gs>
              <a:gs pos="100000">
                <a:schemeClr val="accent6">
                  <a:lumMod val="50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11498453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Pepsi Bottle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009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pic>
        <p:nvPicPr>
          <p:cNvPr id="9" name="Picture 8" descr="A picture containing grass, outdoor, plant, field&#10;&#10;Description automatically generated">
            <a:extLst>
              <a:ext uri="{FF2B5EF4-FFF2-40B4-BE49-F238E27FC236}">
                <a16:creationId xmlns:a16="http://schemas.microsoft.com/office/drawing/2014/main" id="{9434E705-FDB4-474B-A09A-758A7D0574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048" t="13152" r="28090" b="7894"/>
          <a:stretch/>
        </p:blipFill>
        <p:spPr>
          <a:xfrm>
            <a:off x="0" y="388939"/>
            <a:ext cx="7479917" cy="6469062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 flipH="1">
            <a:off x="-1881" y="1650380"/>
            <a:ext cx="5207620" cy="520762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BF3C2C-A662-4830-A417-279B0C4699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70" t="34147" r="15168" b="-1"/>
          <a:stretch/>
        </p:blipFill>
        <p:spPr>
          <a:xfrm>
            <a:off x="5595679" y="2419815"/>
            <a:ext cx="1882360" cy="4438185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4B0CE4D4-D011-41C3-A5DB-85600DC4DDBE}"/>
              </a:ext>
            </a:extLst>
          </p:cNvPr>
          <p:cNvGrpSpPr/>
          <p:nvPr userDrawn="1"/>
        </p:nvGrpSpPr>
        <p:grpSpPr>
          <a:xfrm>
            <a:off x="815290" y="7243785"/>
            <a:ext cx="10561420" cy="4008734"/>
            <a:chOff x="300038" y="1533525"/>
            <a:chExt cx="10561420" cy="4008734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4" name="Slide Zoom 23">
                  <a:extLst>
                    <a:ext uri="{FF2B5EF4-FFF2-40B4-BE49-F238E27FC236}">
                      <a16:creationId xmlns:a16="http://schemas.microsoft.com/office/drawing/2014/main" id="{E3581796-FA97-44B4-A802-166D1981C238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81074920"/>
                    </p:ext>
                  </p:extLst>
                </p:nvPr>
              </p:nvGraphicFramePr>
              <p:xfrm>
                <a:off x="1941977" y="1533525"/>
                <a:ext cx="774344" cy="435569"/>
              </p:xfrm>
              <a:graphic>
                <a:graphicData uri="http://schemas.microsoft.com/office/powerpoint/2016/slidezoom">
                  <pslz:sldZm>
                    <pslz:sldZmObj sldId="2146848283" cId="4200400830">
                      <pslz:zmPr id="{0894AE9B-9B8E-4C31-83A4-2E7FB70817C4}" transitionDur="1000">
                        <p166:blipFill xmlns:p166="http://schemas.microsoft.com/office/powerpoint/2016/6/main">
                          <a:blip r:embed="rId8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4" name="Slide Zoom 23">
                  <a:extLst>
                    <a:ext uri="{FF2B5EF4-FFF2-40B4-BE49-F238E27FC236}">
                      <a16:creationId xmlns:a16="http://schemas.microsoft.com/office/drawing/2014/main" id="{E3581796-FA97-44B4-A802-166D1981C238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9" y="7243785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5" name="Slide Zoom 24">
                  <a:extLst>
                    <a:ext uri="{FF2B5EF4-FFF2-40B4-BE49-F238E27FC236}">
                      <a16:creationId xmlns:a16="http://schemas.microsoft.com/office/drawing/2014/main" id="{7A040608-7F0D-424E-A5F9-A1A6E215E15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559134128"/>
                    </p:ext>
                  </p:extLst>
                </p:nvPr>
              </p:nvGraphicFramePr>
              <p:xfrm>
                <a:off x="1941976" y="208721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451" cId="221702242">
                      <pslz:zmPr id="{79A121F9-F9B7-4589-8254-84FFB1B349B6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5" name="Slide Zoom 24">
                  <a:extLst>
                    <a:ext uri="{FF2B5EF4-FFF2-40B4-BE49-F238E27FC236}">
                      <a16:creationId xmlns:a16="http://schemas.microsoft.com/office/drawing/2014/main" id="{7A040608-7F0D-424E-A5F9-A1A6E215E15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7797474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6" name="Slide Zoom 25">
                  <a:extLst>
                    <a:ext uri="{FF2B5EF4-FFF2-40B4-BE49-F238E27FC236}">
                      <a16:creationId xmlns:a16="http://schemas.microsoft.com/office/drawing/2014/main" id="{CFD0ADE4-C544-4704-A68D-95B47E24F60A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395075889"/>
                    </p:ext>
                  </p:extLst>
                </p:nvPr>
              </p:nvGraphicFramePr>
              <p:xfrm>
                <a:off x="2868759" y="2624497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604" cId="4214287328">
                      <pslz:zmPr id="{8B9D1B15-37E3-4CED-BDAC-FD3DB59F82FA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6" name="Slide Zoom 25">
                  <a:extLst>
                    <a:ext uri="{FF2B5EF4-FFF2-40B4-BE49-F238E27FC236}">
                      <a16:creationId xmlns:a16="http://schemas.microsoft.com/office/drawing/2014/main" id="{CFD0ADE4-C544-4704-A68D-95B47E24F60A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384011" y="8334757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7" name="Slide Zoom 26">
                  <a:extLst>
                    <a:ext uri="{FF2B5EF4-FFF2-40B4-BE49-F238E27FC236}">
                      <a16:creationId xmlns:a16="http://schemas.microsoft.com/office/drawing/2014/main" id="{587085B4-EA51-4786-B9AD-A5BEF7B42976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152830473"/>
                    </p:ext>
                  </p:extLst>
                </p:nvPr>
              </p:nvGraphicFramePr>
              <p:xfrm>
                <a:off x="3853389" y="262534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6" cId="512482825">
                      <pslz:zmPr id="{0ADD2454-2617-44E1-A75D-B8F0FF337FA3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7" name="Slide Zoom 26">
                  <a:extLst>
                    <a:ext uri="{FF2B5EF4-FFF2-40B4-BE49-F238E27FC236}">
                      <a16:creationId xmlns:a16="http://schemas.microsoft.com/office/drawing/2014/main" id="{587085B4-EA51-4786-B9AD-A5BEF7B4297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368641" y="8335601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8" name="Slide Zoom 27">
                  <a:extLst>
                    <a:ext uri="{FF2B5EF4-FFF2-40B4-BE49-F238E27FC236}">
                      <a16:creationId xmlns:a16="http://schemas.microsoft.com/office/drawing/2014/main" id="{CF12A53C-129B-4452-9F78-F5C405E47710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592031034"/>
                    </p:ext>
                  </p:extLst>
                </p:nvPr>
              </p:nvGraphicFramePr>
              <p:xfrm>
                <a:off x="4712918" y="2625947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7" cId="1080661050">
                      <pslz:zmPr id="{29292435-0BF5-41EE-991F-67BC7FDD7BD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8" name="Slide Zoom 27">
                  <a:extLst>
                    <a:ext uri="{FF2B5EF4-FFF2-40B4-BE49-F238E27FC236}">
                      <a16:creationId xmlns:a16="http://schemas.microsoft.com/office/drawing/2014/main" id="{CF12A53C-129B-4452-9F78-F5C405E47710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228170" y="8336207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9" name="Slide Zoom 28">
                  <a:extLst>
                    <a:ext uri="{FF2B5EF4-FFF2-40B4-BE49-F238E27FC236}">
                      <a16:creationId xmlns:a16="http://schemas.microsoft.com/office/drawing/2014/main" id="{94C604FE-7D34-4BFF-9465-B5E709D9F9C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555977736"/>
                    </p:ext>
                  </p:extLst>
                </p:nvPr>
              </p:nvGraphicFramePr>
              <p:xfrm>
                <a:off x="5572447" y="261870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8" cId="1661454726">
                      <pslz:zmPr id="{957F4654-131C-452F-B799-C4F3122BE8D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9" name="Slide Zoom 28">
                  <a:extLst>
                    <a:ext uri="{FF2B5EF4-FFF2-40B4-BE49-F238E27FC236}">
                      <a16:creationId xmlns:a16="http://schemas.microsoft.com/office/drawing/2014/main" id="{94C604FE-7D34-4BFF-9465-B5E709D9F9C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087699" y="8328964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0" name="Slide Zoom 29">
                  <a:extLst>
                    <a:ext uri="{FF2B5EF4-FFF2-40B4-BE49-F238E27FC236}">
                      <a16:creationId xmlns:a16="http://schemas.microsoft.com/office/drawing/2014/main" id="{0EB54D74-56E0-43EE-AA23-5E2F276A385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680768022"/>
                    </p:ext>
                  </p:extLst>
                </p:nvPr>
              </p:nvGraphicFramePr>
              <p:xfrm>
                <a:off x="6465155" y="26082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286" cId="4240409654">
                      <pslz:zmPr id="{9ED75409-BDBC-4AAD-A2A3-C242F26E38E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0" name="Slide Zoom 29">
                  <a:extLst>
                    <a:ext uri="{FF2B5EF4-FFF2-40B4-BE49-F238E27FC236}">
                      <a16:creationId xmlns:a16="http://schemas.microsoft.com/office/drawing/2014/main" id="{0EB54D74-56E0-43EE-AA23-5E2F276A385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980407" y="83185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1" name="Slide Zoom 30">
                  <a:extLst>
                    <a:ext uri="{FF2B5EF4-FFF2-40B4-BE49-F238E27FC236}">
                      <a16:creationId xmlns:a16="http://schemas.microsoft.com/office/drawing/2014/main" id="{E88C98BB-C948-47CD-ACFC-AE5E13AE00B4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012894930"/>
                    </p:ext>
                  </p:extLst>
                </p:nvPr>
              </p:nvGraphicFramePr>
              <p:xfrm>
                <a:off x="7394367" y="260145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64" cId="2538522832">
                      <pslz:zmPr id="{81E34B1F-4A81-4F07-94AE-B1355868311A}" returnToParent="0" transitionDur="1000">
                        <p166:blipFill xmlns:p166="http://schemas.microsoft.com/office/powerpoint/2016/6/main">
                          <a:blip r:embed="rId9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1" name="Slide Zoom 30">
                  <a:extLst>
                    <a:ext uri="{FF2B5EF4-FFF2-40B4-BE49-F238E27FC236}">
                      <a16:creationId xmlns:a16="http://schemas.microsoft.com/office/drawing/2014/main" id="{E88C98BB-C948-47CD-ACFC-AE5E13AE00B4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909619" y="8311714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2" name="Slide Zoom 31">
                  <a:extLst>
                    <a:ext uri="{FF2B5EF4-FFF2-40B4-BE49-F238E27FC236}">
                      <a16:creationId xmlns:a16="http://schemas.microsoft.com/office/drawing/2014/main" id="{B45FAA0E-4284-4A22-BF51-7F483CA295EF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637870975"/>
                    </p:ext>
                  </p:extLst>
                </p:nvPr>
              </p:nvGraphicFramePr>
              <p:xfrm>
                <a:off x="8276135" y="261573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85" cId="754241112">
                      <pslz:zmPr id="{439E46D6-61A2-4590-AD56-3E5E9247DBD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2" name="Slide Zoom 31">
                  <a:extLst>
                    <a:ext uri="{FF2B5EF4-FFF2-40B4-BE49-F238E27FC236}">
                      <a16:creationId xmlns:a16="http://schemas.microsoft.com/office/drawing/2014/main" id="{B45FAA0E-4284-4A22-BF51-7F483CA295EF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791387" y="8325991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3" name="Slide Zoom 32">
                  <a:extLst>
                    <a:ext uri="{FF2B5EF4-FFF2-40B4-BE49-F238E27FC236}">
                      <a16:creationId xmlns:a16="http://schemas.microsoft.com/office/drawing/2014/main" id="{38CB3183-1B24-4B4F-B0E5-8A8F1DC7D7F7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672624513"/>
                    </p:ext>
                  </p:extLst>
                </p:nvPr>
              </p:nvGraphicFramePr>
              <p:xfrm>
                <a:off x="9157902" y="258480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86" cId="3655581783">
                      <pslz:zmPr id="{0E1D668C-9F57-45E3-9945-9066D384EE34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3" name="Slide Zoom 32">
                  <a:extLst>
                    <a:ext uri="{FF2B5EF4-FFF2-40B4-BE49-F238E27FC236}">
                      <a16:creationId xmlns:a16="http://schemas.microsoft.com/office/drawing/2014/main" id="{38CB3183-1B24-4B4F-B0E5-8A8F1DC7D7F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673154" y="8295069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4" name="Slide Zoom 33">
                  <a:extLst>
                    <a:ext uri="{FF2B5EF4-FFF2-40B4-BE49-F238E27FC236}">
                      <a16:creationId xmlns:a16="http://schemas.microsoft.com/office/drawing/2014/main" id="{5A29E2B2-F160-404F-99AF-863FBDEB658C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645639896"/>
                    </p:ext>
                  </p:extLst>
                </p:nvPr>
              </p:nvGraphicFramePr>
              <p:xfrm>
                <a:off x="10087114" y="2601453"/>
                <a:ext cx="774344" cy="435569"/>
              </p:xfrm>
              <a:graphic>
                <a:graphicData uri="http://schemas.microsoft.com/office/powerpoint/2016/slidezoom">
                  <pslz:sldZm>
                    <pslz:sldZmObj sldId="2146848292" cId="2119390895">
                      <pslz:zmPr id="{B7FD65CC-0DCF-4BF5-A563-C3947E5B189F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4" name="Slide Zoom 33">
                  <a:extLst>
                    <a:ext uri="{FF2B5EF4-FFF2-40B4-BE49-F238E27FC236}">
                      <a16:creationId xmlns:a16="http://schemas.microsoft.com/office/drawing/2014/main" id="{5A29E2B2-F160-404F-99AF-863FBDEB658C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602366" y="8311713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5" name="Slide Zoom 34">
                  <a:extLst>
                    <a:ext uri="{FF2B5EF4-FFF2-40B4-BE49-F238E27FC236}">
                      <a16:creationId xmlns:a16="http://schemas.microsoft.com/office/drawing/2014/main" id="{5DFDE293-D588-4579-B950-D06D29A82A7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545933784"/>
                    </p:ext>
                  </p:extLst>
                </p:nvPr>
              </p:nvGraphicFramePr>
              <p:xfrm>
                <a:off x="1941976" y="33558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1" cId="4090794730">
                      <pslz:zmPr id="{1DE1014C-DC38-4334-8346-AA32F7852D2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5" name="Slide Zoom 34">
                  <a:extLst>
                    <a:ext uri="{FF2B5EF4-FFF2-40B4-BE49-F238E27FC236}">
                      <a16:creationId xmlns:a16="http://schemas.microsoft.com/office/drawing/2014/main" id="{5DFDE293-D588-4579-B950-D06D29A82A7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90661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6" name="Slide Zoom 35">
                  <a:extLst>
                    <a:ext uri="{FF2B5EF4-FFF2-40B4-BE49-F238E27FC236}">
                      <a16:creationId xmlns:a16="http://schemas.microsoft.com/office/drawing/2014/main" id="{2FA5D017-D919-4A03-AD86-D3E7D36E1C3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783790248"/>
                    </p:ext>
                  </p:extLst>
                </p:nvPr>
              </p:nvGraphicFramePr>
              <p:xfrm>
                <a:off x="2941064" y="33558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2" cId="2670237118">
                      <pslz:zmPr id="{B044D797-2E0F-44D1-8DF3-53B23B5EE74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6" name="Slide Zoom 35">
                  <a:extLst>
                    <a:ext uri="{FF2B5EF4-FFF2-40B4-BE49-F238E27FC236}">
                      <a16:creationId xmlns:a16="http://schemas.microsoft.com/office/drawing/2014/main" id="{2FA5D017-D919-4A03-AD86-D3E7D36E1C3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456316" y="90661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7" name="Slide Zoom 36">
                  <a:extLst>
                    <a:ext uri="{FF2B5EF4-FFF2-40B4-BE49-F238E27FC236}">
                      <a16:creationId xmlns:a16="http://schemas.microsoft.com/office/drawing/2014/main" id="{2925C8D3-3952-4905-A3FB-412C79A4B15C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909275920"/>
                    </p:ext>
                  </p:extLst>
                </p:nvPr>
              </p:nvGraphicFramePr>
              <p:xfrm>
                <a:off x="3942395" y="335654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3" cId="394390103">
                      <pslz:zmPr id="{A413179C-519C-48DA-9CDC-63BDBF9A9DFB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7" name="Slide Zoom 36">
                  <a:extLst>
                    <a:ext uri="{FF2B5EF4-FFF2-40B4-BE49-F238E27FC236}">
                      <a16:creationId xmlns:a16="http://schemas.microsoft.com/office/drawing/2014/main" id="{2925C8D3-3952-4905-A3FB-412C79A4B15C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457647" y="9066801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8" name="Slide Zoom 37">
                  <a:extLst>
                    <a:ext uri="{FF2B5EF4-FFF2-40B4-BE49-F238E27FC236}">
                      <a16:creationId xmlns:a16="http://schemas.microsoft.com/office/drawing/2014/main" id="{FFC6EEDE-820B-44D9-B362-5B8B28F987B6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191918468"/>
                    </p:ext>
                  </p:extLst>
                </p:nvPr>
              </p:nvGraphicFramePr>
              <p:xfrm>
                <a:off x="1941976" y="3949303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9" cId="1735737450">
                      <pslz:zmPr id="{628212E5-1268-4ECE-8CFC-BAE489F3FEA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8" name="Slide Zoom 37">
                  <a:extLst>
                    <a:ext uri="{FF2B5EF4-FFF2-40B4-BE49-F238E27FC236}">
                      <a16:creationId xmlns:a16="http://schemas.microsoft.com/office/drawing/2014/main" id="{FFC6EEDE-820B-44D9-B362-5B8B28F987B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9659563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9" name="Slide Zoom 38">
                  <a:extLst>
                    <a:ext uri="{FF2B5EF4-FFF2-40B4-BE49-F238E27FC236}">
                      <a16:creationId xmlns:a16="http://schemas.microsoft.com/office/drawing/2014/main" id="{265A7FDA-2C6B-4B58-BDB2-6C75B25BBCF2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194059818"/>
                    </p:ext>
                  </p:extLst>
                </p:nvPr>
              </p:nvGraphicFramePr>
              <p:xfrm>
                <a:off x="2941064" y="397942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5" cId="1079425659">
                      <pslz:zmPr id="{123AC876-A129-48CC-A911-10C0125536E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9" name="Slide Zoom 38">
                  <a:extLst>
                    <a:ext uri="{FF2B5EF4-FFF2-40B4-BE49-F238E27FC236}">
                      <a16:creationId xmlns:a16="http://schemas.microsoft.com/office/drawing/2014/main" id="{265A7FDA-2C6B-4B58-BDB2-6C75B25BBCF2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456316" y="9689681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0" name="Slide Zoom 39">
                  <a:extLst>
                    <a:ext uri="{FF2B5EF4-FFF2-40B4-BE49-F238E27FC236}">
                      <a16:creationId xmlns:a16="http://schemas.microsoft.com/office/drawing/2014/main" id="{B5A7A157-58A2-4AF1-99B6-AC2C10C8201B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251292580"/>
                    </p:ext>
                  </p:extLst>
                </p:nvPr>
              </p:nvGraphicFramePr>
              <p:xfrm>
                <a:off x="4009595" y="396608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5" cId="1762180489">
                      <pslz:zmPr id="{EC668C0F-080F-49F3-8C44-05359A5C4DAE}" returnToParent="0" transitionDur="1000">
                        <p166:blipFill xmlns:p166="http://schemas.microsoft.com/office/powerpoint/2016/6/main">
                          <a:blip r:embed="rId9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0" name="Slide Zoom 39">
                  <a:extLst>
                    <a:ext uri="{FF2B5EF4-FFF2-40B4-BE49-F238E27FC236}">
                      <a16:creationId xmlns:a16="http://schemas.microsoft.com/office/drawing/2014/main" id="{B5A7A157-58A2-4AF1-99B6-AC2C10C8201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524847" y="9676349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1" name="Slide Zoom 40">
                  <a:extLst>
                    <a:ext uri="{FF2B5EF4-FFF2-40B4-BE49-F238E27FC236}">
                      <a16:creationId xmlns:a16="http://schemas.microsoft.com/office/drawing/2014/main" id="{B062338B-1D3D-400E-8668-C2A36FA48D13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601764955"/>
                    </p:ext>
                  </p:extLst>
                </p:nvPr>
              </p:nvGraphicFramePr>
              <p:xfrm>
                <a:off x="4910355" y="3950602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601" cId="3144376485">
                      <pslz:zmPr id="{28E8F3CC-5CA0-47D0-BB07-1B895BC9C21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1" name="Slide Zoom 40">
                  <a:extLst>
                    <a:ext uri="{FF2B5EF4-FFF2-40B4-BE49-F238E27FC236}">
                      <a16:creationId xmlns:a16="http://schemas.microsoft.com/office/drawing/2014/main" id="{B062338B-1D3D-400E-8668-C2A36FA48D1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425607" y="9660862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42" name="Rectangle: Single Corner Rounded 41">
              <a:hlinkClick r:id="" action="ppaction://noaction"/>
              <a:extLst>
                <a:ext uri="{FF2B5EF4-FFF2-40B4-BE49-F238E27FC236}">
                  <a16:creationId xmlns:a16="http://schemas.microsoft.com/office/drawing/2014/main" id="{03BA0DD5-5BDC-4F24-B9A2-6F396DA519D9}"/>
                </a:ext>
              </a:extLst>
            </p:cNvPr>
            <p:cNvSpPr/>
            <p:nvPr/>
          </p:nvSpPr>
          <p:spPr>
            <a:xfrm>
              <a:off x="300042" y="1591094"/>
              <a:ext cx="1493990" cy="378000"/>
            </a:xfrm>
            <a:prstGeom prst="round1Rect">
              <a:avLst>
                <a:gd name="adj" fmla="val 36667"/>
              </a:avLst>
            </a:prstGeom>
            <a:solidFill>
              <a:schemeClr val="accent1"/>
            </a:solidFill>
            <a:ln w="2222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Context</a:t>
              </a:r>
              <a:b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</a:br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and objectives</a:t>
              </a:r>
            </a:p>
          </p:txBody>
        </p:sp>
        <p:sp>
          <p:nvSpPr>
            <p:cNvPr id="43" name="Rectangle: Single Corner Rounded 42">
              <a:hlinkClick r:id="" action="ppaction://noaction"/>
              <a:extLst>
                <a:ext uri="{FF2B5EF4-FFF2-40B4-BE49-F238E27FC236}">
                  <a16:creationId xmlns:a16="http://schemas.microsoft.com/office/drawing/2014/main" id="{C4A535A5-A09D-45DE-A08F-A45EFD9BFD9C}"/>
                </a:ext>
              </a:extLst>
            </p:cNvPr>
            <p:cNvSpPr/>
            <p:nvPr/>
          </p:nvSpPr>
          <p:spPr>
            <a:xfrm>
              <a:off x="300042" y="2110907"/>
              <a:ext cx="1493990" cy="378001"/>
            </a:xfrm>
            <a:prstGeom prst="round1Rect">
              <a:avLst>
                <a:gd name="adj" fmla="val 36667"/>
              </a:avLst>
            </a:prstGeom>
            <a:solidFill>
              <a:schemeClr val="accent5">
                <a:lumMod val="75000"/>
              </a:schemeClr>
            </a:solidFill>
            <a:ln w="2222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pep+ Introduction</a:t>
              </a:r>
            </a:p>
          </p:txBody>
        </p:sp>
        <p:sp>
          <p:nvSpPr>
            <p:cNvPr id="44" name="Rectangle: Single Corner Rounded 43">
              <a:hlinkClick r:id="" action="ppaction://noaction"/>
              <a:extLst>
                <a:ext uri="{FF2B5EF4-FFF2-40B4-BE49-F238E27FC236}">
                  <a16:creationId xmlns:a16="http://schemas.microsoft.com/office/drawing/2014/main" id="{99F68594-26B2-4B73-A8E1-8C8CA5353E66}"/>
                </a:ext>
              </a:extLst>
            </p:cNvPr>
            <p:cNvSpPr/>
            <p:nvPr/>
          </p:nvSpPr>
          <p:spPr>
            <a:xfrm>
              <a:off x="304954" y="2634679"/>
              <a:ext cx="1493989" cy="377995"/>
            </a:xfrm>
            <a:prstGeom prst="round1Rect">
              <a:avLst>
                <a:gd name="adj" fmla="val 36667"/>
              </a:avLst>
            </a:prstGeom>
            <a:solidFill>
              <a:schemeClr val="accent2">
                <a:lumMod val="75000"/>
              </a:schemeClr>
            </a:solidFill>
            <a:ln w="2222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Exploring pep+ collaboration areas</a:t>
              </a:r>
            </a:p>
          </p:txBody>
        </p:sp>
        <p:sp>
          <p:nvSpPr>
            <p:cNvPr id="45" name="Rectangle: Single Corner Rounded 44">
              <a:hlinkClick r:id="" action="ppaction://noaction"/>
              <a:extLst>
                <a:ext uri="{FF2B5EF4-FFF2-40B4-BE49-F238E27FC236}">
                  <a16:creationId xmlns:a16="http://schemas.microsoft.com/office/drawing/2014/main" id="{6EF1887F-3F94-4AE7-8B7F-F5329ECA036A}"/>
                </a:ext>
              </a:extLst>
            </p:cNvPr>
            <p:cNvSpPr/>
            <p:nvPr/>
          </p:nvSpPr>
          <p:spPr>
            <a:xfrm>
              <a:off x="300038" y="3355896"/>
              <a:ext cx="1493993" cy="377988"/>
            </a:xfrm>
            <a:prstGeom prst="round1Rect">
              <a:avLst>
                <a:gd name="adj" fmla="val 36667"/>
              </a:avLst>
            </a:prstGeom>
            <a:solidFill>
              <a:schemeClr val="accent6">
                <a:lumMod val="75000"/>
              </a:schemeClr>
            </a:solidFill>
            <a:ln w="2222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Developing pep+ collaborations</a:t>
              </a:r>
            </a:p>
          </p:txBody>
        </p:sp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6" name="Slide Zoom 45">
                  <a:extLst>
                    <a:ext uri="{FF2B5EF4-FFF2-40B4-BE49-F238E27FC236}">
                      <a16:creationId xmlns:a16="http://schemas.microsoft.com/office/drawing/2014/main" id="{9DC4EA64-CF44-4C3E-9BC3-EA4C665D60A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58884455"/>
                    </p:ext>
                  </p:extLst>
                </p:nvPr>
              </p:nvGraphicFramePr>
              <p:xfrm>
                <a:off x="1941976" y="5106690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9" cId="1735737450">
                      <pslz:zmPr id="{628212E5-1268-4ECE-8CFC-BAE489F3FEA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6" name="Slide Zoom 45">
                  <a:extLst>
                    <a:ext uri="{FF2B5EF4-FFF2-40B4-BE49-F238E27FC236}">
                      <a16:creationId xmlns:a16="http://schemas.microsoft.com/office/drawing/2014/main" id="{9DC4EA64-CF44-4C3E-9BC3-EA4C665D60A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10816950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7" name="Slide Zoom 46">
                  <a:extLst>
                    <a:ext uri="{FF2B5EF4-FFF2-40B4-BE49-F238E27FC236}">
                      <a16:creationId xmlns:a16="http://schemas.microsoft.com/office/drawing/2014/main" id="{58C2315F-8EF6-4710-A36D-D4E30C511B30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701766881"/>
                    </p:ext>
                  </p:extLst>
                </p:nvPr>
              </p:nvGraphicFramePr>
              <p:xfrm>
                <a:off x="2868759" y="509134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2" cId="2670237118">
                      <pslz:zmPr id="{B044D797-2E0F-44D1-8DF3-53B23B5EE74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7" name="Slide Zoom 46">
                  <a:extLst>
                    <a:ext uri="{FF2B5EF4-FFF2-40B4-BE49-F238E27FC236}">
                      <a16:creationId xmlns:a16="http://schemas.microsoft.com/office/drawing/2014/main" id="{58C2315F-8EF6-4710-A36D-D4E30C511B30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384011" y="10801609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8" name="Slide Zoom 47">
                  <a:extLst>
                    <a:ext uri="{FF2B5EF4-FFF2-40B4-BE49-F238E27FC236}">
                      <a16:creationId xmlns:a16="http://schemas.microsoft.com/office/drawing/2014/main" id="{8EB2A623-7E8C-495D-B027-4BCA217EBF32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113642179"/>
                    </p:ext>
                  </p:extLst>
                </p:nvPr>
              </p:nvGraphicFramePr>
              <p:xfrm>
                <a:off x="3795542" y="508844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6" cId="512482825">
                      <pslz:zmPr id="{0ADD2454-2617-44E1-A75D-B8F0FF337FA3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8" name="Slide Zoom 47">
                  <a:extLst>
                    <a:ext uri="{FF2B5EF4-FFF2-40B4-BE49-F238E27FC236}">
                      <a16:creationId xmlns:a16="http://schemas.microsoft.com/office/drawing/2014/main" id="{8EB2A623-7E8C-495D-B027-4BCA217EBF32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310794" y="10798706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787080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heat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624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field of wheat&#10;&#10;Description automatically generated with low confidence">
            <a:extLst>
              <a:ext uri="{FF2B5EF4-FFF2-40B4-BE49-F238E27FC236}">
                <a16:creationId xmlns:a16="http://schemas.microsoft.com/office/drawing/2014/main" id="{03C8818F-625E-4EFA-A4D2-8EAD4F737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7"/>
          <a:stretch/>
        </p:blipFill>
        <p:spPr>
          <a:xfrm>
            <a:off x="0" y="0"/>
            <a:ext cx="7478038" cy="68580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0038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4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noProof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79399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3CA900-2A91-466F-9255-09CEF97904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14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33CA900-2A91-466F-9255-09CEF9790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10" name="Picture 9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C0BBEF17-CCF4-44A9-8BE8-126ABA4890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321D46E2-614D-CF4E-9C75-EC407239DA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9093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Custom picture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751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A8C6288-2571-4D28-9F32-FC8576185BAE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9A49B21-6320-4789-A738-B381ACA22C9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7477125" cy="6858000"/>
          </a:xfrm>
          <a:custGeom>
            <a:avLst/>
            <a:gdLst>
              <a:gd name="connsiteX0" fmla="*/ 0 w 7477125"/>
              <a:gd name="connsiteY0" fmla="*/ 0 h 6858000"/>
              <a:gd name="connsiteX1" fmla="*/ 1 w 7477125"/>
              <a:gd name="connsiteY1" fmla="*/ 0 h 6858000"/>
              <a:gd name="connsiteX2" fmla="*/ 1 w 7477125"/>
              <a:gd name="connsiteY2" fmla="*/ 6857999 h 6858000"/>
              <a:gd name="connsiteX3" fmla="*/ 6858001 w 7477125"/>
              <a:gd name="connsiteY3" fmla="*/ 6857999 h 6858000"/>
              <a:gd name="connsiteX4" fmla="*/ 8925 w 7477125"/>
              <a:gd name="connsiteY4" fmla="*/ 352911 h 6858000"/>
              <a:gd name="connsiteX5" fmla="*/ 1 w 7477125"/>
              <a:gd name="connsiteY5" fmla="*/ 0 h 6858000"/>
              <a:gd name="connsiteX6" fmla="*/ 7477125 w 7477125"/>
              <a:gd name="connsiteY6" fmla="*/ 0 h 6858000"/>
              <a:gd name="connsiteX7" fmla="*/ 7477125 w 7477125"/>
              <a:gd name="connsiteY7" fmla="*/ 6858000 h 6858000"/>
              <a:gd name="connsiteX8" fmla="*/ 0 w 747712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77125" h="6858000">
                <a:moveTo>
                  <a:pt x="0" y="0"/>
                </a:moveTo>
                <a:lnTo>
                  <a:pt x="1" y="0"/>
                </a:lnTo>
                <a:lnTo>
                  <a:pt x="1" y="6857999"/>
                </a:lnTo>
                <a:lnTo>
                  <a:pt x="6858001" y="6857999"/>
                </a:lnTo>
                <a:cubicBezTo>
                  <a:pt x="3188794" y="6857999"/>
                  <a:pt x="192603" y="3976472"/>
                  <a:pt x="8925" y="352911"/>
                </a:cubicBezTo>
                <a:lnTo>
                  <a:pt x="1" y="0"/>
                </a:lnTo>
                <a:lnTo>
                  <a:pt x="7477125" y="0"/>
                </a:lnTo>
                <a:lnTo>
                  <a:pt x="74771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48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r>
              <a:rPr lang="en-US" noProof="0"/>
              <a:t>Picture Hold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7A4204A-92E2-473A-979D-9E45248E7FD2}"/>
              </a:ext>
            </a:extLst>
          </p:cNvPr>
          <p:cNvSpPr/>
          <p:nvPr userDrawn="1"/>
        </p:nvSpPr>
        <p:spPr>
          <a:xfrm rot="108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8EDB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576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pep+ patterns) 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02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69118B71-9DE5-4BDE-A347-3F15E5EB66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07"/>
          <a:stretch/>
        </p:blipFill>
        <p:spPr>
          <a:xfrm>
            <a:off x="5431874" y="4337904"/>
            <a:ext cx="2823126" cy="1460117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F5127A5-8833-47AB-B6AD-A8F9C2891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31874" y="2297153"/>
            <a:ext cx="62443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EAF1F-EF5A-4E4F-8B4B-967ECBB8264E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rgbClr val="93D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BF8343BB-684F-4510-9026-8C58B05C22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1874" y="3027218"/>
            <a:ext cx="62443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5768F3-71F1-4DF0-B686-E0F881C01912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B8E4DE-97B8-4681-982E-ADB24A8444AC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62C860-692A-4D90-9165-00938B731278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778CD25-16D5-4545-AA64-C54B990296A7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360BD2DA-036B-4188-8971-A0E477C28632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E4D2C27-C255-4E7C-958F-F974E6423A21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93D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21292C8-517F-449B-937E-CB52015C4AE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3C9DEEA-65E3-410D-B9D7-B7571D824B16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90B156-20E6-4219-92F6-B4EB13B4954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270F2D2-C833-4056-B9C6-92CC2DF76DEE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rgbClr val="00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B020F72A-CDD9-48E6-9B5B-86F6D735E491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4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3D15B0BC-6A43-4216-AE94-804BD48B303B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rgbClr val="00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348911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EDFB37-F16C-448D-8D8B-E57C4B1FF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209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FEDFB37-F16C-448D-8D8B-E57C4B1FF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4409440" y="0"/>
            <a:ext cx="7782560" cy="6608560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D29E553-7C78-5843-B13C-8A9A1E1B2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44513" y="703110"/>
            <a:ext cx="6276095" cy="5307398"/>
          </a:xfrm>
        </p:spPr>
        <p:txBody>
          <a:bodyPr>
            <a:noAutofit/>
          </a:bodyPr>
          <a:lstStyle>
            <a:lvl1pPr marL="519113" indent="-519113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8D452A2-BF8C-B247-842C-3E70087B91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22330" y="2207789"/>
            <a:ext cx="2215865" cy="2215865"/>
          </a:xfrm>
          <a:prstGeom prst="rect">
            <a:avLst/>
          </a:prstGeom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00D050FC-9B85-9744-83A4-3956EA752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2122" y="2208606"/>
            <a:ext cx="2213814" cy="2215864"/>
          </a:xfrm>
          <a:prstGeom prst="rect">
            <a:avLst/>
          </a:prstGeom>
        </p:spPr>
      </p:pic>
      <p:pic>
        <p:nvPicPr>
          <p:cNvPr id="16" name="Picture 15" descr="A picture containing diagram&#10;&#10;Description automatically generated">
            <a:extLst>
              <a:ext uri="{FF2B5EF4-FFF2-40B4-BE49-F238E27FC236}">
                <a16:creationId xmlns:a16="http://schemas.microsoft.com/office/drawing/2014/main" id="{0EEA53EB-6594-A243-8953-40990CD868F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93148" y="-9101"/>
            <a:ext cx="2215864" cy="2217916"/>
          </a:xfrm>
          <a:prstGeom prst="rect">
            <a:avLst/>
          </a:prstGeom>
        </p:spPr>
      </p:pic>
      <p:pic>
        <p:nvPicPr>
          <p:cNvPr id="21" name="Picture 20" descr="Shape&#10;&#10;Description automatically generated">
            <a:extLst>
              <a:ext uri="{FF2B5EF4-FFF2-40B4-BE49-F238E27FC236}">
                <a16:creationId xmlns:a16="http://schemas.microsoft.com/office/drawing/2014/main" id="{43D7F4C2-9656-1E4B-B7B7-3AA0F46A33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93146" y="4395557"/>
            <a:ext cx="2211766" cy="22138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CF8D6C01-B35A-3D46-894A-E4559F9A001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280" y="-3698"/>
            <a:ext cx="2213815" cy="2215866"/>
          </a:xfrm>
          <a:prstGeom prst="rect">
            <a:avLst/>
          </a:prstGeom>
        </p:spPr>
      </p:pic>
      <p:pic>
        <p:nvPicPr>
          <p:cNvPr id="19" name="Picture 18" descr="Shape&#10;&#10;Description automatically generated">
            <a:extLst>
              <a:ext uri="{FF2B5EF4-FFF2-40B4-BE49-F238E27FC236}">
                <a16:creationId xmlns:a16="http://schemas.microsoft.com/office/drawing/2014/main" id="{6718313F-641C-B144-B0ED-92C528E0379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20281" y="4394638"/>
            <a:ext cx="2213815" cy="2213815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E71A5EF-8E99-4E11-9920-D10DFAD5BC9B}"/>
              </a:ext>
            </a:extLst>
          </p:cNvPr>
          <p:cNvGrpSpPr/>
          <p:nvPr userDrawn="1"/>
        </p:nvGrpSpPr>
        <p:grpSpPr>
          <a:xfrm>
            <a:off x="-185937" y="6570000"/>
            <a:ext cx="12377937" cy="288000"/>
            <a:chOff x="-185937" y="6570000"/>
            <a:chExt cx="12377937" cy="28800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924BD9B-BCFE-4719-A0BD-E9446E73FB1D}"/>
                </a:ext>
              </a:extLst>
            </p:cNvPr>
            <p:cNvGrpSpPr/>
            <p:nvPr userDrawn="1"/>
          </p:nvGrpSpPr>
          <p:grpSpPr>
            <a:xfrm>
              <a:off x="-185937" y="6570000"/>
              <a:ext cx="12377937" cy="288000"/>
              <a:chOff x="-185937" y="6570000"/>
              <a:chExt cx="12377937" cy="288000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088ED7A6-CD2E-4A06-91F7-DC44A526175F}"/>
                  </a:ext>
                </a:extLst>
              </p:cNvPr>
              <p:cNvSpPr/>
              <p:nvPr userDrawn="1"/>
            </p:nvSpPr>
            <p:spPr>
              <a:xfrm>
                <a:off x="0" y="6570000"/>
                <a:ext cx="12192000" cy="288000"/>
              </a:xfrm>
              <a:prstGeom prst="rect">
                <a:avLst/>
              </a:prstGeom>
              <a:solidFill>
                <a:srgbClr val="0065E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E4A4541-D6A3-415C-AE4A-75619362C5A2}"/>
                  </a:ext>
                </a:extLst>
              </p:cNvPr>
              <p:cNvSpPr txBox="1"/>
              <p:nvPr userDrawn="1"/>
            </p:nvSpPr>
            <p:spPr>
              <a:xfrm>
                <a:off x="-185937" y="6659012"/>
                <a:ext cx="1212838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30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eelawadee" panose="020B0502040204020203" pitchFamily="34" charset="-34"/>
                    <a:cs typeface="Leelawadee" panose="020B0502040204020203" pitchFamily="34" charset="-34"/>
                  </a:rPr>
                  <a:t>PAGE </a:t>
                </a:r>
                <a:fld id="{A9E0B6D1-DDC5-4C92-958F-2E726AE580D7}" type="slidenum">
                  <a:rPr kumimoji="0" lang="en-US" sz="800" b="0" i="0" u="none" strike="noStrike" kern="0" cap="none" spc="30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eelawadee" panose="020B0502040204020203" pitchFamily="34" charset="-34"/>
                    <a:cs typeface="Leelawadee" panose="020B0502040204020203" pitchFamily="34" charset="-34"/>
                  </a:rPr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‹#›</a:t>
                </a:fld>
                <a:endParaRPr kumimoji="0" lang="en-US" sz="800" b="0" i="0" u="none" strike="noStrike" kern="0" cap="none" spc="3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eelawadee" panose="020B0502040204020203" pitchFamily="34" charset="-34"/>
                  <a:cs typeface="Leelawadee" panose="020B0502040204020203" pitchFamily="34" charset="-34"/>
                </a:endParaRPr>
              </a:p>
            </p:txBody>
          </p: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05CCE5D-719E-4512-845C-F265DBF53907}"/>
                  </a:ext>
                </a:extLst>
              </p:cNvPr>
              <p:cNvCxnSpPr/>
              <p:nvPr userDrawn="1"/>
            </p:nvCxnSpPr>
            <p:spPr>
              <a:xfrm>
                <a:off x="1122998" y="6570000"/>
                <a:ext cx="0" cy="28800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5782CE5-349C-4ED7-85BD-40219E445496}"/>
                </a:ext>
              </a:extLst>
            </p:cNvPr>
            <p:cNvSpPr txBox="1"/>
            <p:nvPr userDrawn="1"/>
          </p:nvSpPr>
          <p:spPr>
            <a:xfrm>
              <a:off x="1294444" y="6658626"/>
              <a:ext cx="466913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3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eelawadee" panose="020B0502040204020203" pitchFamily="34" charset="-34"/>
                  <a:cs typeface="Leelawadee" panose="020B0502040204020203" pitchFamily="34" charset="-34"/>
                </a:rPr>
                <a:t>CONFIDENTIAL &amp; PROPRIETARY</a:t>
              </a:r>
            </a:p>
          </p:txBody>
        </p:sp>
      </p:grpSp>
      <p:sp>
        <p:nvSpPr>
          <p:cNvPr id="26" name="Rectangle 25">
            <a:hlinkClick r:id="" action="ppaction://noaction"/>
            <a:extLst>
              <a:ext uri="{FF2B5EF4-FFF2-40B4-BE49-F238E27FC236}">
                <a16:creationId xmlns:a16="http://schemas.microsoft.com/office/drawing/2014/main" id="{D3122622-66E6-4165-ACE9-8F947210F885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27" name="Rectangle 26">
            <a:hlinkClick r:id="" action="ppaction://noaction"/>
            <a:extLst>
              <a:ext uri="{FF2B5EF4-FFF2-40B4-BE49-F238E27FC236}">
                <a16:creationId xmlns:a16="http://schemas.microsoft.com/office/drawing/2014/main" id="{81BA53E8-3A40-457E-8B91-AFC112B3CC23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Introducing pep+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28" name="Rectangle 27">
            <a:hlinkClick r:id="" action="ppaction://noaction"/>
            <a:extLst>
              <a:ext uri="{FF2B5EF4-FFF2-40B4-BE49-F238E27FC236}">
                <a16:creationId xmlns:a16="http://schemas.microsoft.com/office/drawing/2014/main" id="{D6E2F5EB-23E4-41FE-917C-C8BDF236126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Exploring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29" name="Rectangle 2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56A185DF-A9FA-4A92-AB5E-98A0820FCC3F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AA0C0EC-A614-4DFD-AF91-80136B10951D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861345-FD5C-4C7E-AF74-B0E1AD944CC2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1BF7DC4-EA4B-4AB4-937D-D92B1AB4AC7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84CDCC8-BDBC-421A-A64A-8D84DDBB8329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3DA257A-086F-47E5-83CD-C82D4FBCAE6E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99987E2-C7C1-4A06-BEC1-20CFC136DA12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31ED53A-FA57-4F39-BB90-7C0B2CCBF9CE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607ADEC-DBE4-4204-8829-78EC717A0932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9FFB051-A9B8-4F1E-B67A-4DF537ED5B18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3424277-ECB4-42F5-AEC2-7DFB36A6F7C2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70650C2-BE5F-43E2-85F4-3A556C07E818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0081ECE-20AF-482F-94CC-092445EC97B3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56E5A1-61A3-48CF-9DE1-F49E4DF1B9B3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FB0BDC7-59F7-40A2-B420-2323EB43F5D5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67AE447-3F51-403E-9F11-11E36ABC6BE7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2D3C175-41EC-4A85-A625-BC9A641CCD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989283-F4E6-4980-8409-61A4C68C2B20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45E2C4D-DBF8-4C18-8364-1676E8BEB4A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04834A9-60E1-4CA2-836E-704D6BB60A56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C10274-9775-4548-A62E-127268962D5A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EA69B6C-DCB7-4215-BBF9-98C1EE048B05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2DFE3B7-6B7A-46E8-AF09-4BAF446AC53F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AFABF04-FA6B-47FE-AD16-16640F8B7178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F877290-4C07-4231-ACDB-4C5C456BECD8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40792BE-D31D-4C0D-B849-3D43582D503B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306BF80-26C0-47A7-B9A7-696B44CF3C6A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579A2F6-EF12-4BF9-8C07-B7CAE5470526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9F7F76-CA75-4B8F-9ACB-69794F94519F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18DD7E6-F0C7-4BA1-8611-CAE1EA04530C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AE760D7A-E8F2-4C28-944A-43A4C79114EF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F9C3EDD-C416-466F-B547-0F9C5C6D2D5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98E89F6-48A9-4D35-86CF-4423DB50139D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FB9E13BA-D632-451A-885E-206ED0AD9CC7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1A8C4B0-1A65-40A9-8AE6-F56359955E6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BF555BB-8391-499E-BC9A-93D5819E4CF9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94A1EEAA-75D0-4329-9D56-09B0CE56E51F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802361B-CDB8-452F-882C-8EA959968A23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C73266B-BD23-43E5-A913-9AA7CD19EB74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25DCC85-0FEE-4871-B84E-8F3CE0B34882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68C0A5D-8F7A-453C-9272-D302814010F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8FB834E-2847-4D99-B01B-6FC54DA416FA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93148A2-D46E-44D1-9B03-26C03A4492B4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523A0B3-DE7C-4721-B8D8-DA5E3252757B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FD30EAE3-13A4-4360-A399-44A195FA33FD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C9C7462-A15F-4FEB-B3DF-90815CD6B02C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9383576-4C21-4256-9FC4-9DB10AB5C5D6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B328BCE-413E-4A97-8987-3F08B2AB5F71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29221E4-DE74-43E4-B722-8E1DBE1CAD0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78" name="Rectangle: Rounded Corners 77">
              <a:hlinkClick r:id="" action="ppaction://noaction"/>
              <a:extLst>
                <a:ext uri="{FF2B5EF4-FFF2-40B4-BE49-F238E27FC236}">
                  <a16:creationId xmlns:a16="http://schemas.microsoft.com/office/drawing/2014/main" id="{B5BAF668-566A-410D-80F9-8D04903A6472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ectangle: Rounded Corners 78">
              <a:hlinkClick r:id="" action="ppaction://noaction"/>
              <a:extLst>
                <a:ext uri="{FF2B5EF4-FFF2-40B4-BE49-F238E27FC236}">
                  <a16:creationId xmlns:a16="http://schemas.microsoft.com/office/drawing/2014/main" id="{8594E6B4-9A79-43EE-8420-06FA82E92F0E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Rectangle: Rounded Corners 79">
              <a:hlinkClick r:id="" action="ppaction://noaction"/>
              <a:extLst>
                <a:ext uri="{FF2B5EF4-FFF2-40B4-BE49-F238E27FC236}">
                  <a16:creationId xmlns:a16="http://schemas.microsoft.com/office/drawing/2014/main" id="{68A4191D-B3CC-4765-9BC7-FC5A13C779AF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hlinkClick r:id="" action="ppaction://noaction"/>
            <a:extLst>
              <a:ext uri="{FF2B5EF4-FFF2-40B4-BE49-F238E27FC236}">
                <a16:creationId xmlns:a16="http://schemas.microsoft.com/office/drawing/2014/main" id="{0A163233-65A1-477E-B986-07B7D9DD5BE6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D7D31B3-465C-4ACA-8110-3073A91F2342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sp>
        <p:nvSpPr>
          <p:cNvPr id="83" name="Rectangle 82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44B0E746-DD7D-4FA1-9065-9457A8DCEFB5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Additional </a:t>
            </a:r>
            <a:b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3664AC-5425-4DE6-AB7E-E4278845E166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1603765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D684D3-FEA7-4674-92EE-043A69C531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396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D684D3-FEA7-4674-92EE-043A69C531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E7D94B0-F89E-124C-9342-F2D79E56E8F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-34287" y="0"/>
            <a:ext cx="3425828" cy="3429000"/>
          </a:xfrm>
          <a:prstGeom prst="rect">
            <a:avLst/>
          </a:prstGeom>
        </p:spPr>
      </p:pic>
      <p:pic>
        <p:nvPicPr>
          <p:cNvPr id="9" name="Picture 8" descr="Diagram, venn diagram&#10;&#10;Description automatically generated">
            <a:extLst>
              <a:ext uri="{FF2B5EF4-FFF2-40B4-BE49-F238E27FC236}">
                <a16:creationId xmlns:a16="http://schemas.microsoft.com/office/drawing/2014/main" id="{1ED6D30F-6EB1-E940-972C-5C415573E1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1541" y="0"/>
            <a:ext cx="3425828" cy="3429000"/>
          </a:xfrm>
          <a:prstGeom prst="rect">
            <a:avLst/>
          </a:prstGeom>
        </p:spPr>
      </p:pic>
      <p:pic>
        <p:nvPicPr>
          <p:cNvPr id="11" name="Picture 10" descr="Chart, pie chart&#10;&#10;Description automatically generated">
            <a:extLst>
              <a:ext uri="{FF2B5EF4-FFF2-40B4-BE49-F238E27FC236}">
                <a16:creationId xmlns:a16="http://schemas.microsoft.com/office/drawing/2014/main" id="{3C584B47-FF61-1E42-880C-6325350EB3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288" y="3429000"/>
            <a:ext cx="3425827" cy="3428999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D472BBD1-1FDB-234E-AAC1-6FF28BCB9B6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1540" y="3428997"/>
            <a:ext cx="3425831" cy="3429003"/>
          </a:xfrm>
          <a:prstGeom prst="rect">
            <a:avLst/>
          </a:prstGeom>
        </p:spPr>
      </p:pic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 userDrawn="1"/>
        </p:nvSpPr>
        <p:spPr>
          <a:xfrm>
            <a:off x="7648609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4372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4309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4372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623056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6997525-20C6-DD0F-63EA-A64270E09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630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997525-20C6-DD0F-63EA-A64270E09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CEF2B4A-8D8A-9921-8B20-101701BF012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0" name="Picture 1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7D525D62-6F88-4E1C-DDCA-3069A179E5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6515154" cy="6858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7EB40FB-1164-79CB-79D7-1524D4C3B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522F61-7AB0-BC8C-4E13-8BECE93AC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BCD2ED-B4C5-B462-9A73-2116E09AD0F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560"/>
            <a:ext cx="5214876" cy="4513432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374CB85-67B5-E257-BF4E-EC7A8FB663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EFA0D-DF3D-CE89-FE60-598006CAECA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326ACE-97C8-16B8-2BB4-966A62E36AA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2EC330-8540-F574-3F43-B0CC5C51E73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D0AC80-2A85-8389-7781-D2ACAE472C1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9A9E27-A09A-E72B-112D-FCE664AE90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43FA9A-2B51-F1D1-159A-96558D3B7C86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2EAA39-754A-7E6F-CD96-E288713775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F0E295-4B7D-6882-6B05-F68C467095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002B6F-79EE-3A7E-1C92-9D8366CE262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446F5D-7AAF-99DF-6095-ED40913CF34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D98835-C978-294E-BB3B-AC74182870B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97615AB6-5E78-D7B0-C7EF-37BED6F516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30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420C90-0DEB-42EB-A2DC-AB17DB2466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68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420C90-0DEB-42EB-A2DC-AB17DB246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7648609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4372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4309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4372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6D296BF9-AF5E-AB4E-95DD-2CED32E414A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332925" y="3570"/>
            <a:ext cx="12192000" cy="6854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8309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Masterslide (Blue footer) w/ PepsiC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C5C2C756-4887-4DBC-9325-80D683CDBE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0038" y="1323077"/>
            <a:ext cx="11591925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590B7C2-3288-42BD-AE48-EE22C309F1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8" y="296863"/>
            <a:ext cx="11591925" cy="47246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3000" b="1" i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58413C-81E2-42E8-A860-42F45D7C1043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EDD0FA2-961B-4F54-A14B-BA64C23D197C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4FAAF54-6B54-482C-A7A4-709CFDFD1650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21" name="Rectangle 20">
            <a:hlinkClick r:id="" action="ppaction://noaction"/>
            <a:extLst>
              <a:ext uri="{FF2B5EF4-FFF2-40B4-BE49-F238E27FC236}">
                <a16:creationId xmlns:a16="http://schemas.microsoft.com/office/drawing/2014/main" id="{B8AC756B-AFB8-40A0-B830-C4E08A07C4E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22" name="Rectangle 21">
            <a:hlinkClick r:id="" action="ppaction://noaction"/>
            <a:extLst>
              <a:ext uri="{FF2B5EF4-FFF2-40B4-BE49-F238E27FC236}">
                <a16:creationId xmlns:a16="http://schemas.microsoft.com/office/drawing/2014/main" id="{35DFDFD4-BA4C-4FEC-B5B7-61DEBACCE91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23" name="Rectangle 22">
            <a:hlinkClick r:id="" action="ppaction://noaction"/>
            <a:extLst>
              <a:ext uri="{FF2B5EF4-FFF2-40B4-BE49-F238E27FC236}">
                <a16:creationId xmlns:a16="http://schemas.microsoft.com/office/drawing/2014/main" id="{1FA7F46D-DEA1-464B-884B-AED639F3D09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24" name="Rectangle 23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0064BC68-A61F-4A98-8FF3-53CFBC76498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9972055-E201-4445-9891-BC376D5923CE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0014273-2A42-4DE8-93AF-8BFC599320D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71AE860-DCE6-4AF2-8EC7-F157ACB22394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8EFA227-0AFB-4544-8723-E1063B0BD589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C3194D-C437-4A08-8DA3-3AD217198B7A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756E83F-6468-4E9F-AAD7-D3DCD7E9E6A1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AFB6FD-F9BF-42D3-8E2F-F1E92288185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E4115AE-22C8-4EC8-93E6-F3B48FDFA3A2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033A954-3A22-43DF-99AC-E12FBD3207B5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AEED6B0-43B6-41F0-B2E9-67BE1EAA6A80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B7EC4E6-71F4-400C-A03C-8FD2B3FF4A51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06A50DF-5D98-407A-B3D3-BDB2CFD2FB80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10B24A-1392-456B-A508-EA0192A3E94C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FB00F28-27EA-46FF-B8B4-ED75CD612BC9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F17F175-B538-4C5F-BB95-C0FD825095CC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AEA9710-6ABC-4724-A68F-2555E83AC1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FC843AF-BE1D-4F13-94C9-CAD4C1E2A166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94532DB-46CC-413E-BD47-5BB6C601D373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DB10F4A-C19F-4433-86E4-F48C78645815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58F6F34-4AC8-4E5C-A8D7-1383F5BB6EDC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B66D66E-FFBD-4D11-9DFA-5F8AFF1557A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33DD1B9-31C8-4292-97C3-D2495474BE1E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633F5E6-DB68-4A59-841C-30295A548C34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5D947DD-B85E-4F9F-ACB1-0A7D5E67D7E8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DD492D6-6086-43B5-B7F0-79E13D51A2CA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E439839-E60D-45C7-8184-C2EB1106DBBE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906A6DB-4D27-471C-9F2B-F7991038BA17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B94503A-DBA0-4DF7-9E8D-AD556EF46AB4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E7C6A3D-039F-40C1-92AA-9B3347DB1A11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72D5A43-74B2-4FE5-A7B5-2557AE74AD9F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30E7CD8-31A2-4680-96BD-44DDCD3DC77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9AC8DA7-2BB2-4BD4-9977-CF8F2BAF94EF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F7C757C5-19BA-4868-8474-BD5352F3CEBC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8D5D22E-FB08-44EA-B3B7-E066263D9FC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BBEA2C4-CD94-438E-8B8E-EF74F30D584E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D44E4D9-67B4-4C6F-A549-2DE06DD2FEA5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87F559A-4661-4579-841C-23B8ADC1D172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9E2E84E-A931-425F-B511-1AA528FC2D7E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21D0099-30B1-477B-80A5-BCAD4F46A93B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DE030D90-00B8-48E8-BD2E-BE70280A6586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895BA4C-C91B-4CD6-901F-9D3248C8DA58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75981119-7473-4150-B287-7445ADB6402C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A73052C-510A-44F7-8D87-ED77CF1606E1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C387827-AB6D-4594-985A-28B84AD09F4F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0DE93061-054C-4D35-98BC-D000FA5B621F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D7C9B6E-A248-4BB6-8271-45B100FF7134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6137979-B9FB-4AF8-8D89-6145CEEBBFB9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9209B9A-1560-4A1B-A6F9-986E50029011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75" name="Rectangle: Rounded Corners 74">
              <a:hlinkClick r:id="" action="ppaction://noaction"/>
              <a:extLst>
                <a:ext uri="{FF2B5EF4-FFF2-40B4-BE49-F238E27FC236}">
                  <a16:creationId xmlns:a16="http://schemas.microsoft.com/office/drawing/2014/main" id="{6CD670C2-3C6C-4D33-B53E-5AB0E6B1CF1D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6" name="Rectangle: Rounded Corners 75">
              <a:hlinkClick r:id="" action="ppaction://noaction"/>
              <a:extLst>
                <a:ext uri="{FF2B5EF4-FFF2-40B4-BE49-F238E27FC236}">
                  <a16:creationId xmlns:a16="http://schemas.microsoft.com/office/drawing/2014/main" id="{55902591-01EF-4BE1-8660-0BBD7E43C7A0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7" name="Rectangle: Rounded Corners 76">
              <a:hlinkClick r:id="" action="ppaction://noaction"/>
              <a:extLst>
                <a:ext uri="{FF2B5EF4-FFF2-40B4-BE49-F238E27FC236}">
                  <a16:creationId xmlns:a16="http://schemas.microsoft.com/office/drawing/2014/main" id="{09BB121C-8F2B-4B8C-88B2-03DAAC0A137F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78" name="Rectangle 77">
            <a:hlinkClick r:id="" action="ppaction://noaction"/>
            <a:extLst>
              <a:ext uri="{FF2B5EF4-FFF2-40B4-BE49-F238E27FC236}">
                <a16:creationId xmlns:a16="http://schemas.microsoft.com/office/drawing/2014/main" id="{E3AF8EAE-ADB4-404A-876D-86881ACC3A28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146B05F-55B6-482D-ACCC-F66425B6254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8FDB9D01-D92F-4A29-8967-485608054049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2C33DD2-91A0-4B84-9947-9AA41BA5763B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11A7BFDB-5B18-4865-9C62-47E2C26D8723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372139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9">
          <p15:clr>
            <a:srgbClr val="FBAE40"/>
          </p15:clr>
        </p15:guide>
        <p15:guide id="4" pos="7491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81DE6-1B80-414D-AEE2-D1ACB69B5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9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81DE6-1B80-414D-AEE2-D1ACB69B5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object 2"/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pPr rtl="0"/>
            <a:endParaRPr lang="en-US" noProof="0">
              <a:solidFill>
                <a:srgbClr val="0065E5"/>
              </a:solidFill>
            </a:endParaRP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vert="horz" anchor="ctr">
            <a:noAutofit/>
          </a:bodyPr>
          <a:lstStyle>
            <a:lvl1pPr rtl="0"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D40EB1-E54E-3D43-82D2-2C0B316D0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350838" indent="-350838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8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marR="0" indent="-406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8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35050" indent="-395288" rtl="0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800">
                <a:solidFill>
                  <a:srgbClr val="0065E5"/>
                </a:solidFill>
              </a:defRPr>
            </a:lvl3pPr>
            <a:lvl4pPr marL="1428750" indent="-406400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rgbClr val="0065E5"/>
                </a:solidFill>
              </a:defRPr>
            </a:lvl4pPr>
            <a:lvl5pPr marL="1835150" indent="-415925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rgbClr val="0065E5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Click to edit Master text styles</a:t>
            </a:r>
          </a:p>
          <a:p>
            <a:pPr lvl="2"/>
            <a:r>
              <a:rPr lang="en-US" noProof="0"/>
              <a:t>Click to edit Master text styles</a:t>
            </a:r>
          </a:p>
          <a:p>
            <a:pPr lvl="3"/>
            <a:r>
              <a:rPr lang="en-US" noProof="0"/>
              <a:t>Click to edit Master text styles</a:t>
            </a:r>
          </a:p>
          <a:p>
            <a:pPr lvl="4"/>
            <a:r>
              <a:rPr lang="en-US" noProof="0"/>
              <a:t>Click to edit Master text styl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084A86BC-9CF0-402C-84A3-5B1C293C6D19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rgbClr val="4FE2F3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759C04E-2047-49F8-B6B8-6EE9EB39A6F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024B2C5D-2374-4C6C-8D1A-AC2DD89E74A8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B6A20841-E79D-4973-B3B4-944D15C789EF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3" name="Rectangle 82">
            <a:hlinkClick r:id="" action="ppaction://noaction"/>
            <a:extLst>
              <a:ext uri="{FF2B5EF4-FFF2-40B4-BE49-F238E27FC236}">
                <a16:creationId xmlns:a16="http://schemas.microsoft.com/office/drawing/2014/main" id="{92562484-F1D1-43D0-9DEF-FCB8A907608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4" name="Rectangle 83">
            <a:hlinkClick r:id="" action="ppaction://noaction"/>
            <a:extLst>
              <a:ext uri="{FF2B5EF4-FFF2-40B4-BE49-F238E27FC236}">
                <a16:creationId xmlns:a16="http://schemas.microsoft.com/office/drawing/2014/main" id="{E1B9BA34-8987-4BA8-8630-B28A49C3D080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5" name="Rectangle 84">
            <a:hlinkClick r:id="" action="ppaction://noaction"/>
            <a:extLst>
              <a:ext uri="{FF2B5EF4-FFF2-40B4-BE49-F238E27FC236}">
                <a16:creationId xmlns:a16="http://schemas.microsoft.com/office/drawing/2014/main" id="{4E598FEB-07B1-4727-B40A-BE9A8B62F862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6" name="Rectangle 8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3ED1DAF-2330-4FE2-8C6A-73C96E569D53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C9D57413-37AC-4F87-AFFF-41BD53DA7793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D228D56-7461-42E9-943E-7E886C14CB77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6BD70F7-DEB5-4ACB-9D33-0EC0C460308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C055DE5-FB77-44FC-A08B-3C6B66B64BD6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6D499F2-BBF6-43C6-B157-4BDFF7FBC58D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92424F2-52FC-451B-B7DE-44BC56742B86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AAEDDAAA-F759-4672-8EC4-E9A26CC8D0F5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30480F4E-D07A-4962-A262-E15F1FFE1635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CE59FA8-6299-4250-8FFD-9DB33BCAC08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4EAAAE1-07AA-46E2-AEB9-18A8F0E9F625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237F84F-D4C1-4D37-B4E5-8CDC9C64DB0D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372F53D-D574-43B1-A617-F1BFBBC7A9F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3A0357CC-2EF6-4CF2-8E21-0FBA8818ABF4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558A6D8-1AC0-4AAF-BE7A-5FDB738B5BD5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93821ADD-5EAF-490F-A60C-8A64043559F8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8A5D2FB7-137C-4C75-8596-9CD24132A5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E6B44359-DE1E-4E3D-A51D-2F43C5C4424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4893DC3-E306-452D-8F2F-8DA1EE6FCF1A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985FD16-927F-4AAA-8FA4-3421F4FDBEAA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02B404FA-CA78-4836-B350-1CADDDA6E023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E8D4E07B-A23A-48A9-AF67-E3F3CF9ABC7E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D6E2FF6-AF2C-4F2A-9C35-3825A0F2BCD4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82132543-FB19-4A8F-BA46-F62B13130FE9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74BCFE9-B1F1-494A-8418-98792E7B5750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0DAB02F-EB89-4E26-A111-0024A6C67DFE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3BB3AC9-A186-439C-89B6-81A3DC6ACF28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227A27FB-5996-419C-AF0B-4141980F7EEF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367936D1-9B32-48AB-9155-1B298DF481C2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86979269-9187-49C9-A67D-3AC7FAFF2FA1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4CD421FB-D8D6-4B66-8CC4-D8648D1C7DF0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EB77767-F0C8-420B-9966-D031E612F309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2CDE2C1D-0766-418A-B7E4-5752FDD58A1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8380B0B-D7C2-4A2F-993E-6F635B9326CB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E8FD2FF-F991-43E5-9EA7-DEF10683A074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8852C37D-D0A8-425B-92B3-107ED00C1644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6AA3C3E1-7ABD-4DA9-9253-2794618CDE22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E91CDA46-47A5-465C-91C7-5578AEC8C345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156027A-6D27-43DA-8005-DFF7648AC8EF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ACBB335-0B34-4BE3-8D25-7BCC4C2FE2AA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C4E0D0DA-ED2B-492F-B16D-3D98F58A5080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E2B4B93-4FD7-48C8-8D98-94D6363B25C7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7DF1EBB-F8DA-4C82-9758-7EE86EE8D188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CFF4F197-214B-486F-8282-586EE96281C7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02C761C-C53C-4237-8595-F7B717D65201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514688B5-0D49-45A5-8497-6CB59375BE0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5667239-ED4B-472C-A049-ED4A1CC934E4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BF2B4CB6-EDC8-4E09-919A-655CD3CEA1B3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CC05D079-A313-4430-BFAA-DED5F230EB4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5" name="Rectangle: Rounded Corners 134">
              <a:hlinkClick r:id="" action="ppaction://noaction"/>
              <a:extLst>
                <a:ext uri="{FF2B5EF4-FFF2-40B4-BE49-F238E27FC236}">
                  <a16:creationId xmlns:a16="http://schemas.microsoft.com/office/drawing/2014/main" id="{57609B63-AC18-4AA8-8574-5D5115A363B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6" name="Rectangle: Rounded Corners 135">
              <a:hlinkClick r:id="" action="ppaction://noaction"/>
              <a:extLst>
                <a:ext uri="{FF2B5EF4-FFF2-40B4-BE49-F238E27FC236}">
                  <a16:creationId xmlns:a16="http://schemas.microsoft.com/office/drawing/2014/main" id="{338948C8-67E5-49AC-8542-7597A72E185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7" name="Rectangle: Rounded Corners 136">
              <a:hlinkClick r:id="" action="ppaction://noaction"/>
              <a:extLst>
                <a:ext uri="{FF2B5EF4-FFF2-40B4-BE49-F238E27FC236}">
                  <a16:creationId xmlns:a16="http://schemas.microsoft.com/office/drawing/2014/main" id="{814E2F4B-6C59-461A-A6A9-6060F7C44C1D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8" name="Rectangle 137">
            <a:hlinkClick r:id="" action="ppaction://noaction"/>
            <a:extLst>
              <a:ext uri="{FF2B5EF4-FFF2-40B4-BE49-F238E27FC236}">
                <a16:creationId xmlns:a16="http://schemas.microsoft.com/office/drawing/2014/main" id="{36F93FFF-3082-4A7F-AC2B-061FF8448E5C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97A56DE1-4383-41E8-9C17-0CC01339A534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 13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FE73455-ABAA-4E4B-A005-96568A93CE2E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769BAD0F-BFA3-431A-AFA0-2921F90D314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9698A923-D4AC-4055-BC3C-37668151C01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8443488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653DDB-7827-4F40-9A08-6D07DBDB0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6251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653DDB-7827-4F40-9A08-6D07DBDB0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-213"/>
            <a:ext cx="12192000" cy="6608560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D9A7910-8039-6449-B024-BB8DAE55BE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 rtl="0"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0"/>
            <a:endParaRPr lang="en-US" noProof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1FE3BDB-BF7A-416B-AC81-62A17B1B988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3AC5429-DA60-454B-AFBE-8226FC54EB31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87F74C54-C623-457E-B33A-73E0EFF2B781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9" name="Rectangle 78">
            <a:hlinkClick r:id="" action="ppaction://noaction"/>
            <a:extLst>
              <a:ext uri="{FF2B5EF4-FFF2-40B4-BE49-F238E27FC236}">
                <a16:creationId xmlns:a16="http://schemas.microsoft.com/office/drawing/2014/main" id="{64801AAA-1825-47AE-B843-A804F3844395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0" name="Rectangle 79">
            <a:hlinkClick r:id="" action="ppaction://noaction"/>
            <a:extLst>
              <a:ext uri="{FF2B5EF4-FFF2-40B4-BE49-F238E27FC236}">
                <a16:creationId xmlns:a16="http://schemas.microsoft.com/office/drawing/2014/main" id="{A63E843A-57E3-41DF-92FF-EE8F09391E11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1" name="Rectangle 80">
            <a:hlinkClick r:id="" action="ppaction://noaction"/>
            <a:extLst>
              <a:ext uri="{FF2B5EF4-FFF2-40B4-BE49-F238E27FC236}">
                <a16:creationId xmlns:a16="http://schemas.microsoft.com/office/drawing/2014/main" id="{8CD1FBBB-4635-45B2-BA82-E062606EEB3E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2" name="Rectangle 8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EB16F3B2-0B45-478C-9E76-F2C70BEAE802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AF0418-5892-4A08-9380-31ADB9F8F0A4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03C9938-D868-4959-BD8A-9F898DDC1CF3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2E637CDE-EE28-4742-9C6D-34654F5108B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60B339B-F211-4436-B09B-AB58C5F8A1CB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AAEE5E6-FDDA-4F59-95CF-C0D44310431B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1D8491E-4B56-4D4F-9C3E-0EC6868519FB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3D7911A-ECB0-49DF-9C50-9FCFB7F67F3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BF9A7ED-D834-473E-9F8A-CDF7508CAF3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E31D11C-29C5-4174-BC08-4134660323C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40EBD2F-C83E-4619-A264-389E2E045B6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2D5F7BA-C27E-4B23-8426-19BEFD86D09C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0A8CDE4-530A-4B4E-BAAC-711F845176FA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B2F1951-6219-4D94-B371-0D5CA166D34A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38EAF87C-4D7E-4C64-9AB9-C82737DD0192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81B6D60-3288-49C9-BD33-ABB86C707123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483B469-E080-43CF-BD2E-EBCD2AEB996C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8BB529BC-A60D-42EA-8C4B-BE812A1B0B17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37EBA6C-E2BD-4D6B-9AB3-FE5A47ACDB2B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D57BAE8-BECA-45AA-8CA4-FC08FC334398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750946A-CE1A-4520-B00D-CCAC7B5FFCDA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518BD4F5-48E2-4B2D-9C94-279E9B4072E4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B707EB44-ECA8-4844-9D78-AD546A0BC3EA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ED968D6-60C1-4169-BECC-AEF6DE217145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FE93203-9CDC-44B6-8D04-DA5A894B541E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3E02F5D-B7EC-4252-AD8D-DA53E025E2F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3248DD2-5ADF-4385-97C5-3F7E5A35ED49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835E8868-8080-4A3B-A07A-F8F88FA4805D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192326D-FCF4-4AB2-80FD-E7324A20D20A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6293EB64-4747-40A2-8ED6-F4FB08FC8A46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42CB500-1A51-4242-B656-54417ACB65D6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41AD578-56B6-4E04-8348-C800F7F9606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D5E9AE0B-DA08-4BE4-94C7-6365319E757C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49912CA-FF0B-4FD2-AA8F-BC6B2D4EA04C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CBF10406-BB2B-4E75-AE61-54FAB62B823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F9B7C0-41BC-4709-8BE4-41E44B6993B4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5CAE3C2-E86F-4D25-8550-4DA349EBB515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DB0B2F9-C7DC-40D4-A6A0-D391E0CBD5EE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352B5CB-191A-4A7C-A46E-18D86E4C32EE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D5E1B9EF-2FAC-49FF-9A92-E17A36A530B9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A425777-4F61-4C55-BAFD-D34C07BDC306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A961FD6-92FF-4666-B507-C006D4C167B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147429B-1E42-4063-AF2B-BE3D1D10FDD0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B8E44F35-B46B-45AA-99A1-3DE05B1DB8C6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FD0AD04B-6D3F-436B-A87D-921F06084882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CA22CB27-915C-411B-B0B7-378A134221FD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E270061-1A7B-487F-AF4C-DA4DDE31D161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1B25A73-AFEB-402A-AA76-A59F2404C508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A479B3E-4266-4744-B02F-DD6646CF762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93EA794C-9976-4667-9D3D-18BD551C8566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2" name="Rectangle: Rounded Corners 131">
              <a:hlinkClick r:id="" action="ppaction://noaction"/>
              <a:extLst>
                <a:ext uri="{FF2B5EF4-FFF2-40B4-BE49-F238E27FC236}">
                  <a16:creationId xmlns:a16="http://schemas.microsoft.com/office/drawing/2014/main" id="{06E49E52-BF3B-4BEC-8F3F-B2D2A16B9AF9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3" name="Rectangle: Rounded Corners 132">
              <a:hlinkClick r:id="" action="ppaction://noaction"/>
              <a:extLst>
                <a:ext uri="{FF2B5EF4-FFF2-40B4-BE49-F238E27FC236}">
                  <a16:creationId xmlns:a16="http://schemas.microsoft.com/office/drawing/2014/main" id="{115BCFEB-9890-47F5-BA68-F005BDD9C641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4" name="Rectangle 133">
            <a:hlinkClick r:id="" action="ppaction://noaction"/>
            <a:extLst>
              <a:ext uri="{FF2B5EF4-FFF2-40B4-BE49-F238E27FC236}">
                <a16:creationId xmlns:a16="http://schemas.microsoft.com/office/drawing/2014/main" id="{92B5D4E9-9932-46C1-9242-4C5F4BABE131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C46781DA-6501-4529-8CA5-E72220E03F50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6557599-AC28-4BDE-808E-B68E4460138E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51DB69FB-E258-48A3-8BF5-95FD7B8FF648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56BBD85F-F12B-4A0B-970E-070E34AAA0D2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2115585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DFCE0-C8CA-44D4-B3A9-22A7EE47C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36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DFCE0-C8CA-44D4-B3A9-22A7EE47C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6CCAFD-2BDF-C149-ABEA-30E622D97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8995" y="1274778"/>
            <a:ext cx="10952148" cy="4810836"/>
          </a:xfrm>
        </p:spPr>
        <p:txBody>
          <a:bodyPr>
            <a:noAutofit/>
          </a:bodyPr>
          <a:lstStyle>
            <a:lvl1pPr marL="287338" indent="-287338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0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0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81075" indent="-341313" rtl="0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000">
                <a:solidFill>
                  <a:srgbClr val="0065E5"/>
                </a:solidFill>
              </a:defRPr>
            </a:lvl3pPr>
            <a:lvl4pPr marL="1376363" indent="-354013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rgbClr val="0065E5"/>
                </a:solidFill>
              </a:defRPr>
            </a:lvl4pPr>
            <a:lvl5pPr marL="1781175" indent="-361950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rgbClr val="0065E5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Click to edit Master text styles</a:t>
            </a:r>
          </a:p>
          <a:p>
            <a:pPr lvl="2"/>
            <a:r>
              <a:rPr lang="en-US" noProof="0"/>
              <a:t>Click to edit Master text styles</a:t>
            </a:r>
          </a:p>
          <a:p>
            <a:pPr lvl="3"/>
            <a:r>
              <a:rPr lang="en-US" noProof="0"/>
              <a:t>Click to edit Master text styles</a:t>
            </a:r>
          </a:p>
          <a:p>
            <a:pPr lvl="4"/>
            <a:r>
              <a:rPr lang="en-US" noProof="0"/>
              <a:t>Click to edit Master text styles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pPr rtl="0"/>
              <a:endParaRPr lang="en-US" noProof="0"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rgbClr val="8EDB43"/>
            </a:solidFill>
          </p:spPr>
          <p:txBody>
            <a:bodyPr wrap="square" lIns="0" tIns="0" rIns="0" bIns="0" rtlCol="0"/>
            <a:lstStyle/>
            <a:p>
              <a:pPr rtl="0"/>
              <a:endParaRPr lang="en-US" noProof="0"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vert="horz" anchor="ctr">
            <a:noAutofit/>
          </a:bodyPr>
          <a:lstStyle>
            <a:lvl1pPr rtl="0"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AE7C059-651A-4F9A-AD92-86BE11B22658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C2D924E-0B78-45DC-988F-D9A30326D037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16CF3DEE-EBE1-452B-9E17-E8B375261A54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5" name="Rectangle 84">
            <a:hlinkClick r:id="" action="ppaction://noaction"/>
            <a:extLst>
              <a:ext uri="{FF2B5EF4-FFF2-40B4-BE49-F238E27FC236}">
                <a16:creationId xmlns:a16="http://schemas.microsoft.com/office/drawing/2014/main" id="{8D6FC318-9B06-4760-B18F-BEDA8D21C188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6" name="Rectangle 85">
            <a:hlinkClick r:id="" action="ppaction://noaction"/>
            <a:extLst>
              <a:ext uri="{FF2B5EF4-FFF2-40B4-BE49-F238E27FC236}">
                <a16:creationId xmlns:a16="http://schemas.microsoft.com/office/drawing/2014/main" id="{B835E26E-3FE7-4E70-AEA7-CCE097A408DF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7" name="Rectangle 86">
            <a:hlinkClick r:id="" action="ppaction://noaction"/>
            <a:extLst>
              <a:ext uri="{FF2B5EF4-FFF2-40B4-BE49-F238E27FC236}">
                <a16:creationId xmlns:a16="http://schemas.microsoft.com/office/drawing/2014/main" id="{566902A7-B875-40DD-808A-F54FC9DD1FB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8" name="Rectangle 87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AA110ADE-3C16-46D9-A560-1579AA0964F8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07FDDBC-FAA6-40D1-97D8-2BE74B737329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9D7D75B-6FC3-42C7-9687-FDAD491A464B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50A4771B-F9D3-493B-B6DD-5A2AE169C0D2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4042F56-68A1-4F23-8340-DC31C7EE8016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D5115AFF-26C6-484B-83AF-FDE838CFC798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Group 93">
            <a:extLst>
              <a:ext uri="{FF2B5EF4-FFF2-40B4-BE49-F238E27FC236}">
                <a16:creationId xmlns:a16="http://schemas.microsoft.com/office/drawing/2014/main" id="{895863B6-42DA-468A-91AD-918D189854DD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FDD2268-E79C-40A8-981F-0728760C5723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A83D0A0-BEB8-4AF9-A713-8E2183B2381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8058360-049A-473E-B627-2625BF43CFBB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B22121FC-3655-429B-BA4A-D7C0BF079843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E1E42D5-9637-414C-8EF4-BE1CDFE5668C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F84041BA-D2C8-4227-8D30-042CF04E1A02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473E184-29D3-4DE3-9271-3840B6374E41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10B33167-4A10-461D-8D05-F9C02229A02A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3DE54AD6-3B2F-4B34-923E-2441EAE9213B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D8F168D-6BFC-4952-9D7D-819D56B88FF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5318A663-EFED-4D3D-87DB-78D83F33591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BFBA5D3-B202-4DAA-BD4A-3AA0C2140967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2AAA3EE-7915-4F2A-AC3B-82ABD2F5E44F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1AA4845-5C15-4A9A-A4C8-19EAB417CA67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BEF3E6A-76AE-4869-BDC9-D7E10A050957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1E9007A-D597-42CF-A973-8FC4F95EA615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180259C-CAF9-4854-9E9A-4BCE5A8A8B3B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F692448-313C-41ED-86BF-075D954EBD7F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727A6007-BFD6-48E5-91FF-7694D4EF823F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3B1E02D6-09FA-4E9B-9830-97BE419CAAD2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B3EA4E-CAC8-4314-8A77-58FA409698F2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F00CFDC-AFCA-4E00-BB96-CB895851BFCD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FA9E83F-5469-481F-8445-6A566305451A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3642B6E-AF90-41E4-9F27-DDD3D3E5AFE6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428B100-C57F-4F1E-AF9E-83A00C5AF625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FE150865-5015-422C-956C-3A42C2D90056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CE7D74CD-CD44-4ED4-9AB8-CB71827A381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8022138-B4AE-4E9F-8A58-DD95325DDFD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892EF28-34EA-4032-9730-54B5FC4EAA9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197DA4E3-B005-419D-A184-B7A738353530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CCA14373-23BE-4A03-A9A0-8374DAAF5487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8E0CD3E-D9E3-422F-B6C2-89FC438F95EB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B9A125B-AC16-4297-AAE8-52DC7D23B813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0EB99BF-BAA0-43CF-82A3-C3CD0063AF9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4485EF15-31F6-4FB3-B149-93A5154B974C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8005B94-E445-4269-8F47-FDF28BFB6343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2A1709B-024F-4A08-AA11-BF8D188F3BE6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69453EFE-E2C9-4C20-AD11-2F9E93391A6B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89F870CA-B973-4D9D-8ADE-7508FA22A996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CCDE1FF-DFA6-49C0-8A4B-39EBC11B7C77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D8F6BA9F-63A0-47FF-ACEB-57C8DD8ACD7E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503BED4D-3BD2-4C02-98C0-6D58963FBF75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7" name="Rectangle: Rounded Corners 136">
              <a:hlinkClick r:id="" action="ppaction://noaction"/>
              <a:extLst>
                <a:ext uri="{FF2B5EF4-FFF2-40B4-BE49-F238E27FC236}">
                  <a16:creationId xmlns:a16="http://schemas.microsoft.com/office/drawing/2014/main" id="{3C062AE2-53B9-4F9B-994F-02024B0D6798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8" name="Rectangle: Rounded Corners 137">
              <a:hlinkClick r:id="" action="ppaction://noaction"/>
              <a:extLst>
                <a:ext uri="{FF2B5EF4-FFF2-40B4-BE49-F238E27FC236}">
                  <a16:creationId xmlns:a16="http://schemas.microsoft.com/office/drawing/2014/main" id="{BDBD6CA0-5C81-463B-8650-6DE1F28ABF21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9" name="Rectangle: Rounded Corners 138">
              <a:hlinkClick r:id="" action="ppaction://noaction"/>
              <a:extLst>
                <a:ext uri="{FF2B5EF4-FFF2-40B4-BE49-F238E27FC236}">
                  <a16:creationId xmlns:a16="http://schemas.microsoft.com/office/drawing/2014/main" id="{A51D0850-92C1-4093-A453-85977F7F4B96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40" name="Rectangle 139">
            <a:hlinkClick r:id="" action="ppaction://noaction"/>
            <a:extLst>
              <a:ext uri="{FF2B5EF4-FFF2-40B4-BE49-F238E27FC236}">
                <a16:creationId xmlns:a16="http://schemas.microsoft.com/office/drawing/2014/main" id="{3487A5C9-EE02-480A-82CC-92D4A03A5782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5A5933C5-F37E-4F1A-BAFD-6B2FA5A92A1A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99F187B-3FD9-4B49-90BE-AFBBE021BCAD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AC306341-0978-4C8B-B12F-441A3FCE2FA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85B9E930-8DC3-4710-B411-20FD76116327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91730521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+ text Placeho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58B34489-7642-4205-873E-F3492F562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88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58B34489-7642-4205-873E-F3492F562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rgbClr val="0052DB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ED43BA-A683-49EB-A471-CC2FF2517659}"/>
              </a:ext>
            </a:extLst>
          </p:cNvPr>
          <p:cNvSpPr/>
          <p:nvPr userDrawn="1"/>
        </p:nvSpPr>
        <p:spPr>
          <a:xfrm>
            <a:off x="3040802" y="3429000"/>
            <a:ext cx="3054096" cy="3429000"/>
          </a:xfrm>
          <a:prstGeom prst="rect">
            <a:avLst/>
          </a:prstGeom>
          <a:solidFill>
            <a:srgbClr val="8EDB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DC9FC4A4-D378-486E-8BC6-E816D5C4C606}"/>
              </a:ext>
            </a:extLst>
          </p:cNvPr>
          <p:cNvSpPr/>
          <p:nvPr userDrawn="1"/>
        </p:nvSpPr>
        <p:spPr>
          <a:xfrm>
            <a:off x="-1" y="2269894"/>
            <a:ext cx="6125865" cy="3826106"/>
          </a:xfrm>
          <a:custGeom>
            <a:avLst/>
            <a:gdLst>
              <a:gd name="connsiteX0" fmla="*/ 6257483 w 6322790"/>
              <a:gd name="connsiteY0" fmla="*/ 0 h 3826106"/>
              <a:gd name="connsiteX1" fmla="*/ 6258144 w 6322790"/>
              <a:gd name="connsiteY1" fmla="*/ 2864 h 3826106"/>
              <a:gd name="connsiteX2" fmla="*/ 6322790 w 6322790"/>
              <a:gd name="connsiteY2" fmla="*/ 644141 h 3826106"/>
              <a:gd name="connsiteX3" fmla="*/ 3140825 w 6322790"/>
              <a:gd name="connsiteY3" fmla="*/ 3826106 h 3826106"/>
              <a:gd name="connsiteX4" fmla="*/ 23506 w 6322790"/>
              <a:gd name="connsiteY4" fmla="*/ 1285418 h 3826106"/>
              <a:gd name="connsiteX5" fmla="*/ 0 w 6322790"/>
              <a:gd name="connsiteY5" fmla="*/ 1153790 h 3826106"/>
              <a:gd name="connsiteX6" fmla="*/ 6257483 w 6322790"/>
              <a:gd name="connsiteY6" fmla="*/ 1153790 h 3826106"/>
              <a:gd name="connsiteX7" fmla="*/ 6257483 w 6322790"/>
              <a:gd name="connsiteY7" fmla="*/ 0 h 382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22790" h="3826106">
                <a:moveTo>
                  <a:pt x="6257483" y="0"/>
                </a:moveTo>
                <a:lnTo>
                  <a:pt x="6258144" y="2864"/>
                </a:lnTo>
                <a:cubicBezTo>
                  <a:pt x="6300531" y="210002"/>
                  <a:pt x="6322790" y="424472"/>
                  <a:pt x="6322790" y="644141"/>
                </a:cubicBezTo>
                <a:cubicBezTo>
                  <a:pt x="6322790" y="2401492"/>
                  <a:pt x="4898176" y="3826106"/>
                  <a:pt x="3140825" y="3826106"/>
                </a:cubicBezTo>
                <a:cubicBezTo>
                  <a:pt x="1603143" y="3826106"/>
                  <a:pt x="320213" y="2735386"/>
                  <a:pt x="23506" y="1285418"/>
                </a:cubicBezTo>
                <a:lnTo>
                  <a:pt x="0" y="1153790"/>
                </a:lnTo>
                <a:lnTo>
                  <a:pt x="6257483" y="1153790"/>
                </a:lnTo>
                <a:lnTo>
                  <a:pt x="6257483" y="0"/>
                </a:lnTo>
                <a:close/>
              </a:path>
            </a:pathLst>
          </a:cu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5542DB-5259-466A-986A-299B630CA3C1}"/>
              </a:ext>
            </a:extLst>
          </p:cNvPr>
          <p:cNvSpPr/>
          <p:nvPr userDrawn="1"/>
        </p:nvSpPr>
        <p:spPr>
          <a:xfrm>
            <a:off x="3050634" y="0"/>
            <a:ext cx="3054096" cy="3429000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286ACBA-89A8-488A-A42B-E8D20FF88E31}"/>
              </a:ext>
            </a:extLst>
          </p:cNvPr>
          <p:cNvSpPr/>
          <p:nvPr userDrawn="1"/>
        </p:nvSpPr>
        <p:spPr>
          <a:xfrm>
            <a:off x="3044043" y="0"/>
            <a:ext cx="3074546" cy="34290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9ACC6E-E237-4D26-8B09-E50B73D4F9B0}"/>
              </a:ext>
            </a:extLst>
          </p:cNvPr>
          <p:cNvSpPr/>
          <p:nvPr userDrawn="1"/>
        </p:nvSpPr>
        <p:spPr>
          <a:xfrm>
            <a:off x="-35071" y="3429000"/>
            <a:ext cx="3084922" cy="3429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CAAC235-0BD1-4DEA-BB4F-D52AFFFDF722}"/>
              </a:ext>
            </a:extLst>
          </p:cNvPr>
          <p:cNvSpPr/>
          <p:nvPr userDrawn="1"/>
        </p:nvSpPr>
        <p:spPr>
          <a:xfrm>
            <a:off x="9161291" y="-1"/>
            <a:ext cx="3030836" cy="3429000"/>
          </a:xfrm>
          <a:custGeom>
            <a:avLst/>
            <a:gdLst>
              <a:gd name="connsiteX0" fmla="*/ 0 w 3030836"/>
              <a:gd name="connsiteY0" fmla="*/ 0 h 3429000"/>
              <a:gd name="connsiteX1" fmla="*/ 3030836 w 3030836"/>
              <a:gd name="connsiteY1" fmla="*/ 0 h 3429000"/>
              <a:gd name="connsiteX2" fmla="*/ 3030836 w 3030836"/>
              <a:gd name="connsiteY2" fmla="*/ 717755 h 3429000"/>
              <a:gd name="connsiteX3" fmla="*/ 1236547 w 3030836"/>
              <a:gd name="connsiteY3" fmla="*/ 3429000 h 3429000"/>
              <a:gd name="connsiteX4" fmla="*/ 0 w 3030836"/>
              <a:gd name="connsiteY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836" h="3429000">
                <a:moveTo>
                  <a:pt x="0" y="0"/>
                </a:moveTo>
                <a:lnTo>
                  <a:pt x="3030836" y="0"/>
                </a:lnTo>
                <a:lnTo>
                  <a:pt x="3030836" y="717755"/>
                </a:lnTo>
                <a:lnTo>
                  <a:pt x="1236547" y="3429000"/>
                </a:lnTo>
                <a:lnTo>
                  <a:pt x="0" y="3429000"/>
                </a:lnTo>
                <a:close/>
              </a:path>
            </a:pathLst>
          </a:cu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15AD95-D09E-4F5B-91A6-B047CD1284E0}"/>
              </a:ext>
            </a:extLst>
          </p:cNvPr>
          <p:cNvSpPr/>
          <p:nvPr userDrawn="1"/>
        </p:nvSpPr>
        <p:spPr>
          <a:xfrm>
            <a:off x="6115348" y="0"/>
            <a:ext cx="3054096" cy="3429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E4EBD94-2DEE-4D75-AA70-500C8702217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02605" y="3429001"/>
            <a:ext cx="6089395" cy="32005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48A6283-32F5-4567-A6FB-DE6F33C316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29468" y="0"/>
            <a:ext cx="3089275" cy="3429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26" name="Picture Placeholder 18">
            <a:extLst>
              <a:ext uri="{FF2B5EF4-FFF2-40B4-BE49-F238E27FC236}">
                <a16:creationId xmlns:a16="http://schemas.microsoft.com/office/drawing/2014/main" id="{381105CD-8785-4369-8229-519A641A361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4576" y="3445042"/>
            <a:ext cx="3051838" cy="2900195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3045945-5335-4618-B4A1-B3CA7FF04D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50" y="297712"/>
            <a:ext cx="2414480" cy="282825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rtl="0">
              <a:defRPr lang="en-US" sz="2000" b="0" i="0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7938" lvl="0" indent="-7938">
              <a:spcBef>
                <a:spcPts val="0"/>
              </a:spcBef>
              <a:buNone/>
              <a:tabLst/>
            </a:pPr>
            <a:r>
              <a:rPr lang="en-US" noProof="0"/>
              <a:t>Text Box 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729CF7F-74B3-4B7F-B8AC-973C2B0EC7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7735" y="3726712"/>
            <a:ext cx="2414480" cy="234341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ext Box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F723D81-38FB-44AC-9BC9-A06B6B2D2C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6337" y="297712"/>
            <a:ext cx="2414480" cy="282825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rtl="0">
              <a:defRPr lang="en-US" sz="2000" b="0" i="0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7938" lvl="0" indent="-7938">
              <a:spcBef>
                <a:spcPts val="0"/>
              </a:spcBef>
              <a:buNone/>
              <a:tabLst/>
            </a:pPr>
            <a:r>
              <a:rPr lang="en-US" noProof="0"/>
              <a:t>Text Box 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F68CA8D4-3DD4-471A-9312-0BC95DD7146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61291" y="-2"/>
            <a:ext cx="3030709" cy="3429000"/>
          </a:xfrm>
          <a:custGeom>
            <a:avLst/>
            <a:gdLst>
              <a:gd name="connsiteX0" fmla="*/ 0 w 3030836"/>
              <a:gd name="connsiteY0" fmla="*/ 0 h 3429000"/>
              <a:gd name="connsiteX1" fmla="*/ 3030836 w 3030836"/>
              <a:gd name="connsiteY1" fmla="*/ 0 h 3429000"/>
              <a:gd name="connsiteX2" fmla="*/ 3030836 w 3030836"/>
              <a:gd name="connsiteY2" fmla="*/ 717755 h 3429000"/>
              <a:gd name="connsiteX3" fmla="*/ 1236547 w 3030836"/>
              <a:gd name="connsiteY3" fmla="*/ 3429000 h 3429000"/>
              <a:gd name="connsiteX4" fmla="*/ 0 w 3030836"/>
              <a:gd name="connsiteY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836" h="3429000">
                <a:moveTo>
                  <a:pt x="0" y="0"/>
                </a:moveTo>
                <a:lnTo>
                  <a:pt x="3030836" y="0"/>
                </a:lnTo>
                <a:lnTo>
                  <a:pt x="3030836" y="717755"/>
                </a:lnTo>
                <a:lnTo>
                  <a:pt x="1236547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 lIns="0" tIns="0" rIns="576000" bIns="0" anchor="ctr">
            <a:noAutofit/>
          </a:bodyPr>
          <a:lstStyle>
            <a:lvl1pPr algn="l">
              <a:defRPr lang="pl-PL" sz="36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09D25A2-D53B-4F8E-8FA4-BC101E9DEA7A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236C9D1A-108F-4065-9BF4-2E9979837148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49EE55BB-72F3-4A81-B416-04DC104D51D9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103" name="Rectangle 102">
            <a:hlinkClick r:id="" action="ppaction://noaction"/>
            <a:extLst>
              <a:ext uri="{FF2B5EF4-FFF2-40B4-BE49-F238E27FC236}">
                <a16:creationId xmlns:a16="http://schemas.microsoft.com/office/drawing/2014/main" id="{CBCBB06A-F8A4-42CF-80A0-83E6E63ED96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104" name="Rectangle 103">
            <a:hlinkClick r:id="" action="ppaction://noaction"/>
            <a:extLst>
              <a:ext uri="{FF2B5EF4-FFF2-40B4-BE49-F238E27FC236}">
                <a16:creationId xmlns:a16="http://schemas.microsoft.com/office/drawing/2014/main" id="{33140AF5-5E21-47B3-8E91-45FA6B3E7D4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105" name="Rectangle 104">
            <a:hlinkClick r:id="" action="ppaction://noaction"/>
            <a:extLst>
              <a:ext uri="{FF2B5EF4-FFF2-40B4-BE49-F238E27FC236}">
                <a16:creationId xmlns:a16="http://schemas.microsoft.com/office/drawing/2014/main" id="{4874253F-6160-4C29-BA1F-61F8E902BF8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106" name="Rectangle 10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B673533-CE9A-4EEA-98D8-D2F39BCBE5E7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89BA0C5-E067-42C7-B12C-7EDC4F0D4D7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1CC4B52-3E90-4615-B3C9-1946E41A5DD1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547B556-BE0A-43B5-9A8C-3F12228970C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EE8BFCE-80EA-42CA-BB7F-593649D84A30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50E21FFB-B047-43B5-8ED5-C25520D32581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7F269D9-BB7E-4EFC-BCB3-E709BE86FE27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24A88752-D14D-42E2-93D6-845A26BEE4DC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74788ED-6403-4F3D-AC0B-1C101C67D3F8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98478670-3476-4EA9-B40D-33FEED49A00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940F654C-DF8A-48AE-9A8B-80ABFC1ABDD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00A3173-20B0-4AA4-95F6-85A01BDEFBBE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C2C3ACC-D0CE-40C8-A581-F5FA363C52ED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B89F6D18-EF57-46EC-9994-6B9D874D8E65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CD29FF9-A981-48FF-9186-A7005A6925B6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E554360F-FAC0-4316-A88F-F0A55DE4077F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57377D8-6C58-4474-A813-D2E4DF5FFFBD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AA4F0BF-5988-4DA5-8EF2-BC0E7B286A1A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6A48CDBF-AC63-4921-B4F2-3DA8DB5CD5CB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5A1FAD4F-39D1-42FC-B518-C64C1617387D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CEB04C04-8296-47A7-92AC-CEDB2BA11D2E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B6C38A2C-E62B-4ECF-9D33-986A1BE26768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36CF6A0-CB57-4D6E-B7AA-F77765878177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D0531E55-59FE-47ED-A361-5B998BB5B521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B3055707-A37D-4089-A7CC-1A70F3A88B39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9F4D7B3-C91C-458C-8AC5-E49D221A0120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E88B0628-BBAA-4546-AAEC-3F66F0C40C1D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EEB53A-FA91-4B85-89EB-E9504086FF78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AE953CD-B335-4906-9FFE-37EB6251FFF2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66AE02F-DDC9-484E-BA58-5EB7BE934FFE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8056CDAD-0D59-4B87-BDBA-286E62F495CE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908BB381-F8AF-4C13-B98D-241AF924E82A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D5AC5AE0-0B0A-4E3D-8187-6AD320129C9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AD49194-AC4F-496D-857C-55D7B896D01A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D332CC98-4EE3-4E36-9DB7-D9BBE94903A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8F5FA4BB-02EE-4C59-B67F-84262EF275C0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DA86978-B1CB-4A94-805F-614E9550A722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88DE02E-5586-49EF-92F4-31D582E76818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874980C-940F-4251-9104-5C4FA1AE9A38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AE90B68-1CA4-4C83-AF50-7FB0E8D5DAF8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8F9C9027-37EB-4126-950D-4874FDA2841E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44A80B17-9A73-46EA-A539-B0F35867C918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D847A09E-107F-4B48-88A1-E82D4539EC5A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F6B34504-272A-49B9-9774-7F41DE82085F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7DAB1B58-03D1-418A-9481-8732C7119CAD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2B95FE30-C1C0-49A4-970A-B90506753BEE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7EA594F-2B9F-4761-8A20-ACFEB0A84041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D71D7DED-FBE6-4A95-9476-899ABA9F95D6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A9972A30-E87E-405D-B3B6-7181637B47AA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55" name="Rectangle: Rounded Corners 154">
              <a:hlinkClick r:id="" action="ppaction://noaction"/>
              <a:extLst>
                <a:ext uri="{FF2B5EF4-FFF2-40B4-BE49-F238E27FC236}">
                  <a16:creationId xmlns:a16="http://schemas.microsoft.com/office/drawing/2014/main" id="{FFD124B8-F2BE-43C9-B797-F4C3AEF6EF7F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6" name="Rectangle: Rounded Corners 155">
              <a:hlinkClick r:id="" action="ppaction://noaction"/>
              <a:extLst>
                <a:ext uri="{FF2B5EF4-FFF2-40B4-BE49-F238E27FC236}">
                  <a16:creationId xmlns:a16="http://schemas.microsoft.com/office/drawing/2014/main" id="{01DE4D20-C0D0-45DD-8FC1-646FD2E9D1B2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7" name="Rectangle: Rounded Corners 156">
              <a:hlinkClick r:id="" action="ppaction://noaction"/>
              <a:extLst>
                <a:ext uri="{FF2B5EF4-FFF2-40B4-BE49-F238E27FC236}">
                  <a16:creationId xmlns:a16="http://schemas.microsoft.com/office/drawing/2014/main" id="{44D2956D-FDB9-4A9A-BCCF-FCD7230F44E3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58" name="Rectangle 157">
            <a:hlinkClick r:id="" action="ppaction://noaction"/>
            <a:extLst>
              <a:ext uri="{FF2B5EF4-FFF2-40B4-BE49-F238E27FC236}">
                <a16:creationId xmlns:a16="http://schemas.microsoft.com/office/drawing/2014/main" id="{EE436261-AE45-47D0-AC3E-42EF8018C7CF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2D238A1-A1EF-4CD0-8ECD-6EB064F6B6B5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Rectangle 15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4A6E41D-CF52-4FC2-B670-31048C145FEB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D67BD7A-26AE-4E35-8209-14C2F4CF6E9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Box 161">
            <a:extLst>
              <a:ext uri="{FF2B5EF4-FFF2-40B4-BE49-F238E27FC236}">
                <a16:creationId xmlns:a16="http://schemas.microsoft.com/office/drawing/2014/main" id="{311B1661-F675-4D88-80C3-68686E9FC92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9078128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3B5177-9A2E-416D-9807-DE5D65862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1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3B5177-9A2E-416D-9807-DE5D65862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E89A75F-199B-D74E-9E7C-2B147373EE6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90098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80024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80024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18475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1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>
            <a:cxnSpLocks/>
          </p:cNvCxnSpPr>
          <p:nvPr userDrawn="1"/>
        </p:nvCxnSpPr>
        <p:spPr>
          <a:xfrm>
            <a:off x="1221260" y="1952283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>
            <a:cxnSpLocks/>
          </p:cNvCxnSpPr>
          <p:nvPr userDrawn="1"/>
        </p:nvCxnSpPr>
        <p:spPr>
          <a:xfrm>
            <a:off x="5323971" y="1952283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9123" y="1957179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821186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6338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3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E791674-06AF-9849-B5D3-C736E8F2C6F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92809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1E65449-ABFF-EE4C-9268-A2EA0829DED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447961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10CF0DF-41D9-4CFE-806D-5118A5AA5A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323075"/>
            <a:ext cx="11591925" cy="472463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9A57D4F-D542-408E-9020-FEA5A9A47479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2DFE9976-F9DE-4F7A-9649-B685D22AE32B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1D191BD1-5D8F-4391-8018-080A6C1C42ED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99" name="Rectangle 98">
            <a:hlinkClick r:id="" action="ppaction://noaction"/>
            <a:extLst>
              <a:ext uri="{FF2B5EF4-FFF2-40B4-BE49-F238E27FC236}">
                <a16:creationId xmlns:a16="http://schemas.microsoft.com/office/drawing/2014/main" id="{9BBDAF38-C2AF-42D1-90C0-4264D5695919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100" name="Rectangle 99">
            <a:hlinkClick r:id="" action="ppaction://noaction"/>
            <a:extLst>
              <a:ext uri="{FF2B5EF4-FFF2-40B4-BE49-F238E27FC236}">
                <a16:creationId xmlns:a16="http://schemas.microsoft.com/office/drawing/2014/main" id="{965EB8D4-D1CA-4636-8B67-472F1154BA4F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101" name="Rectangle 100">
            <a:hlinkClick r:id="" action="ppaction://noaction"/>
            <a:extLst>
              <a:ext uri="{FF2B5EF4-FFF2-40B4-BE49-F238E27FC236}">
                <a16:creationId xmlns:a16="http://schemas.microsoft.com/office/drawing/2014/main" id="{7A2C6D2A-AC49-4E01-B682-B0CF04382F9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102" name="Rectangle 10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7220620B-973C-4D6D-9D1F-24B461D519F0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22AF86F3-F7F0-40FD-B6EB-64C05986E16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DCC6D9F-E724-4E73-88E4-F7DF9A44A6D8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2B7B578-8CDC-4E2E-8611-87B1ABB10410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5D4F216-8E22-400C-94D0-3C0FC29C1997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81B5862-C34F-4008-8D66-A7DE9F34EE12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BCA756F-6A9D-4EBB-843C-E00E92621197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65D809B7-DB0B-43A7-8E52-A9B6F155B0D2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91BFF9D-2658-4503-9379-2150C2A845DE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350268B-C3C9-4173-BD26-DA2DC879E1D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477F3D5B-06FE-47E5-8103-AE1F618D8F7D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108A08BB-BD33-4EFE-914F-DC06E47DFB76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09B9A8A-21BA-4C44-9995-0B1ADDA6FDB2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5E920C3-804F-4CED-A138-F83C5402C9A4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ABE67D5-0FD5-41EE-B69D-FEE2A8B2A738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605B662-9888-4302-9CA0-D55D88DF22A8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1706E08-D1E3-490A-8E25-6D6814805B4A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6144834-38B3-41E6-8DEB-21FEA0CD0C26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E9999010-EC3F-4CA3-9409-88AF47832212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EEE43B68-B01B-4E87-B6AB-08A19AC9CCE2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078D9F4-B8C2-4F66-9F70-28364BAD07ED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C1DA8AB-9E4D-4C21-854E-C331E0CC0C88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0628A310-CA1E-4959-BEBC-4B24DD9702C9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7B2BB6A-9391-425E-8F17-C81E456408FB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02C1EEDE-701D-49BA-A672-62953D8C6CB5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1A2ED676-59D7-4A47-8C63-A11B63303E47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0BA8526-8D70-4072-963D-2C6C0ABCCE03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8AB01BDB-F0C5-4669-8A0A-3563B85439DD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AA3D0B7D-67B7-47FA-AB88-9086AE674CA0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A56B90C-DF55-42AD-B3A6-CCFD903D4B2F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10124E26-2B9D-4E3C-9BED-41600964B203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5D5754C4-4EE5-4523-8301-735E65DB1D4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89F2F546-1727-490A-9C7A-7AC16FB5B62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7A81125D-888C-4A98-AB1E-A2AD8A76875F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A248CE41-5B7A-458F-B901-ED0A0AED3BB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65A3B9B9-C486-4059-A2AE-424C6AA12FD2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ABB6A96-365A-46E0-958E-BCC7C12B11AF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D085466-1989-4342-B43D-D9C9E50D26A8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E4B2AF0F-3630-49BF-A8B9-56DEA63E6A73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7139E0E1-89DA-45F9-8487-9D9887D2F4CE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353FE914-E27A-489A-B747-2FAD39779F55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D6362C4E-3555-4C98-BBC6-EC4C2955EB1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7370420-2C8B-4289-A6F9-0B653CB54D2F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8DD090B2-8BBB-4B0E-9F5E-8BFC9B0478D2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F523F32-CCFA-4106-AB57-01DA0482B24B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1FC7168F-14E7-4366-B0D2-719CF6CBDB37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6070B8DD-68FA-44C3-8A1B-3A4E36125925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E66CA735-946D-4E22-ABD5-9CAF34243B36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2F4A769-2C2C-4D9F-8CBC-1A9A3EDB2FD6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51" name="Rectangle: Rounded Corners 150">
              <a:hlinkClick r:id="" action="ppaction://noaction"/>
              <a:extLst>
                <a:ext uri="{FF2B5EF4-FFF2-40B4-BE49-F238E27FC236}">
                  <a16:creationId xmlns:a16="http://schemas.microsoft.com/office/drawing/2014/main" id="{51085169-9344-4DDB-B985-9E7F6E1F73C8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2" name="Rectangle: Rounded Corners 151">
              <a:hlinkClick r:id="" action="ppaction://noaction"/>
              <a:extLst>
                <a:ext uri="{FF2B5EF4-FFF2-40B4-BE49-F238E27FC236}">
                  <a16:creationId xmlns:a16="http://schemas.microsoft.com/office/drawing/2014/main" id="{886FD8AC-EF51-44D1-80D6-D8B28AF79579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3" name="Rectangle: Rounded Corners 152">
              <a:hlinkClick r:id="" action="ppaction://noaction"/>
              <a:extLst>
                <a:ext uri="{FF2B5EF4-FFF2-40B4-BE49-F238E27FC236}">
                  <a16:creationId xmlns:a16="http://schemas.microsoft.com/office/drawing/2014/main" id="{72289DEE-2D93-420C-97EF-E971B7988259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54" name="Rectangle 153">
            <a:hlinkClick r:id="" action="ppaction://noaction"/>
            <a:extLst>
              <a:ext uri="{FF2B5EF4-FFF2-40B4-BE49-F238E27FC236}">
                <a16:creationId xmlns:a16="http://schemas.microsoft.com/office/drawing/2014/main" id="{BE8B6BBE-B955-4AF6-B973-96DBB5AE661E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E6480CA9-6DB3-4F38-AE64-97970AD25B17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5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14CEB3B7-F1C2-4A70-A117-93F8760EC651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351241E-2546-4FBD-909B-2AB2E353293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9F29C9BC-8342-45C6-8BBE-7F6A7C94D4B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929353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>
          <p15:clr>
            <a:srgbClr val="FBAE40"/>
          </p15:clr>
        </p15:guide>
        <p15:guide id="2" pos="189">
          <p15:clr>
            <a:srgbClr val="FBAE40"/>
          </p15:clr>
        </p15:guide>
        <p15:guide id="3" pos="7491">
          <p15:clr>
            <a:srgbClr val="FBAE40"/>
          </p15:clr>
        </p15:guide>
        <p15:guide id="4" orient="horz" pos="381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attern with Content 01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674" y="703110"/>
            <a:ext cx="7699014" cy="5307398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tabLst/>
              <a:defRPr sz="4000"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A35B3EF-6E95-4979-A79E-D19669B18191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54BFC13-D151-48CE-A204-41D14B529BF0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985B2221-9486-42C3-A5B4-2FF9713E12FA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7" name="Rectangle 76">
            <a:hlinkClick r:id="" action="ppaction://noaction"/>
            <a:extLst>
              <a:ext uri="{FF2B5EF4-FFF2-40B4-BE49-F238E27FC236}">
                <a16:creationId xmlns:a16="http://schemas.microsoft.com/office/drawing/2014/main" id="{87546FE3-0D4D-4474-B752-3342EB5A256B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78" name="Rectangle 77">
            <a:hlinkClick r:id="" action="ppaction://noaction"/>
            <a:extLst>
              <a:ext uri="{FF2B5EF4-FFF2-40B4-BE49-F238E27FC236}">
                <a16:creationId xmlns:a16="http://schemas.microsoft.com/office/drawing/2014/main" id="{F4E4C4C3-9ADC-4FE1-9098-91D9D2D6307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79" name="Rectangle 78">
            <a:hlinkClick r:id="" action="ppaction://noaction"/>
            <a:extLst>
              <a:ext uri="{FF2B5EF4-FFF2-40B4-BE49-F238E27FC236}">
                <a16:creationId xmlns:a16="http://schemas.microsoft.com/office/drawing/2014/main" id="{F4001615-C0CF-497F-90DD-E4067CEB38C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0" name="Rectangle 7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50795E1-E097-471C-B01E-A2F5A623B25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0E2A1B1-6757-4D6C-B03C-B5E08269E3D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EF01055-71C3-4AAB-9A1C-F830A47FC8BE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A2384A5A-3696-43A7-891A-C124C4895CC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CA0AB99A-86D9-4CD0-9024-8F3EC2833AFE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D9E2F43-0051-4508-96DA-B8F07C431629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FF2799C-55B7-4DC4-A75F-DB29CF63B5CD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E809BB5-5540-43B0-A5B0-4A5D0ECBAFE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762C4EA0-F327-4E78-86DB-71D3A3B326C3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7EE7CFE-4556-472F-9C88-7719A6418AD3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E3E94E1-7595-4439-9BF8-CCF8D4000CE4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AFA213AB-A72E-4B2B-AA93-1FEA47895330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3D602B8-D84D-40D1-806D-63BC24F61727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63E77DF-379B-4102-BF90-0A19F6829272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C861FE2-C62B-4161-B63A-858CF3A75C3C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F366777C-5594-4CD2-877A-DBEE0315BBFE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688D390-5B66-4E6B-A4F8-8955B2EC157B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CEE81E-C667-4DF5-9F93-E8C7C38D3EE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201C7A3-67D0-4941-945B-C44396221C83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160D767-E65E-4FB0-8FB9-E9E6455F18F4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3A1A5FE-94E5-4C2D-B4D5-1BBA34103F52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0E88644-4F52-4D05-B8EB-FE1AEB96275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F43B7D8-8CBE-4C2A-9402-24A5E6020215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ACBDBE0C-B48A-49DD-AD33-E569668EE126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DE492A0B-AA05-42B7-BA3A-02E939EFA0DF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AB9DA7DA-2872-4172-82BF-03E5E181A091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32EDA18-9AB3-43C2-9A0B-531B95328B92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322A0713-BFD2-4A95-BF37-42BCF883E2EA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8D9B8D69-9C2F-45B4-B265-AC8403ED691B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182DC49-6BBE-477F-A174-0065D8773B37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6ECF68EC-B1A2-4616-8AB2-EC5ED589A1C2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9B41B98-97B3-45E2-A267-7D31B632B1B6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4754D20-3B4F-492E-BFC2-60A2F263868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6EBE2611-C02F-4A02-9091-1E39667656A3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BCE79E5-AE03-4A37-90FC-37F91965C87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8B0891D-4A68-475A-B3D8-3835A094085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7C390C0-46CC-4B06-BB49-9C5CD7570357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273C96B-5B61-4CD7-ABF1-042766A4AEC9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3E47AAA-C742-4E0F-B23C-2A96D35C0F19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3A77EBE1-25C8-4842-A86D-1860DD88FE9F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11A45402-5E6C-4AFA-A0DA-536FA45EFB17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E43CC5-F5AD-4EEB-B02D-E5DC3DC57D2C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50371354-707A-4E81-B293-335B098597B2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135C00E-C2DD-49AA-90D0-C6118985BE63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1110520-1F1C-41CE-B0F7-A519190470F2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953EE52-D3A9-4D5D-B167-CE712C78F76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3CE9096-3F54-472F-A34A-FE00B12DDBEB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C1A9079-92E4-41D6-971F-228A09A50C5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E3C96034-76B9-4B02-97E5-F4F24A19A41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29" name="Rectangle: Rounded Corners 128">
              <a:hlinkClick r:id="" action="ppaction://noaction"/>
              <a:extLst>
                <a:ext uri="{FF2B5EF4-FFF2-40B4-BE49-F238E27FC236}">
                  <a16:creationId xmlns:a16="http://schemas.microsoft.com/office/drawing/2014/main" id="{15F9C03F-A561-4787-86BD-EB2145EE57D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0" name="Rectangle: Rounded Corners 129">
              <a:hlinkClick r:id="" action="ppaction://noaction"/>
              <a:extLst>
                <a:ext uri="{FF2B5EF4-FFF2-40B4-BE49-F238E27FC236}">
                  <a16:creationId xmlns:a16="http://schemas.microsoft.com/office/drawing/2014/main" id="{82B795A2-5F76-4214-9F52-8C89AFA110E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EAC059E7-52DF-4DD2-843A-C129B72FFF9C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2" name="Rectangle 131">
            <a:hlinkClick r:id="" action="ppaction://noaction"/>
            <a:extLst>
              <a:ext uri="{FF2B5EF4-FFF2-40B4-BE49-F238E27FC236}">
                <a16:creationId xmlns:a16="http://schemas.microsoft.com/office/drawing/2014/main" id="{D19E258C-7C52-4DD4-8E7E-81141744D495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1E6AC391-FD41-4555-AE9A-AB5AE12A3E9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5FD54C87-4A57-4C4B-8BD0-09BE667317F1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442CDC0-BB38-4148-8AFA-AF609F4A9F2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>
            <a:extLst>
              <a:ext uri="{FF2B5EF4-FFF2-40B4-BE49-F238E27FC236}">
                <a16:creationId xmlns:a16="http://schemas.microsoft.com/office/drawing/2014/main" id="{13915862-3CD9-413D-B7CA-9E07EF47B4A9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66875766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"/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D40EB1-E54E-3D43-82D2-2C0B316D0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800"/>
              </a:spcBef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4863" indent="-347663">
              <a:lnSpc>
                <a:spcPct val="100000"/>
              </a:lnSpc>
              <a:spcBef>
                <a:spcPts val="1800"/>
              </a:spcBef>
              <a:buFont typeface="Courier New" panose="02070309020205020404" pitchFamily="49" charset="0"/>
              <a:buChar char="o"/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3BB693A-037C-4786-AEDD-E6BE18F1390D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45601B59-FA67-4564-A3CA-CE624D18AAD5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4AD636F4-7596-470F-BE98-B8259B654D0F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2" name="Rectangle 81">
            <a:hlinkClick r:id="" action="ppaction://noaction"/>
            <a:extLst>
              <a:ext uri="{FF2B5EF4-FFF2-40B4-BE49-F238E27FC236}">
                <a16:creationId xmlns:a16="http://schemas.microsoft.com/office/drawing/2014/main" id="{B895AAFA-3330-49CF-89E2-42612A01687F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3" name="Rectangle 82">
            <a:hlinkClick r:id="" action="ppaction://noaction"/>
            <a:extLst>
              <a:ext uri="{FF2B5EF4-FFF2-40B4-BE49-F238E27FC236}">
                <a16:creationId xmlns:a16="http://schemas.microsoft.com/office/drawing/2014/main" id="{763B9017-10FD-454B-B55F-8B9575F196E0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4" name="Rectangle 83">
            <a:hlinkClick r:id="" action="ppaction://noaction"/>
            <a:extLst>
              <a:ext uri="{FF2B5EF4-FFF2-40B4-BE49-F238E27FC236}">
                <a16:creationId xmlns:a16="http://schemas.microsoft.com/office/drawing/2014/main" id="{63E6A0C9-5168-46F7-AC83-F740E81D8C1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5" name="Rectangle 84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5C9E19A-0E7F-4235-85ED-90F91FAE84DB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73F6461-F104-43D3-8D50-62980E7D6B08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60487FC-A14F-4E67-A1CB-97FF4C09D601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D68AB8D-ECBC-4A85-9BF4-7FF4BAE4C5D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FC10A6A8-85EE-485D-B88C-ADAF07E68180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782ADED-2332-40AE-A6B6-66B206B3633D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6757AF0-B449-41E9-8F3E-78DB39B0C484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BB3B013-1673-4342-ACD8-50C0E62A7324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371A0BD-C728-469A-A4E9-E10CC8A7D5B5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C4CEDCDE-0C27-4A88-9773-F8B28807DA0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DFFB04A-BC03-4D87-9C37-068FE7AD39AD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0CE1082-E7C8-4624-AC8C-5792A4178253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E963DBFA-CD00-4959-AA37-F724A5BB0EEB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18DBF1A6-E87F-4DE1-B0FB-250C76A50016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16BF5E99-3B1C-4A50-8C64-8FCEE926B04A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C967151-75F9-42AC-A890-3A23BC415681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35A6A94-3516-4D52-BE97-3CF4ADE6BB00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0A3D1A6-D0A6-455D-A982-455CCA4D97A7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6A37408-FF55-418C-A7F1-B6DC7D89532D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92DA6AED-C999-4248-8F31-5D2B17612B1F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F2DBD2-B65A-4E60-9D9E-EE9A09162169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00E94FD-5D0A-4ED8-8D5B-A9A0E4792F9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08B7380E-42F7-4A58-9ACF-0FA1B9C48AD8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56E40D6-71C7-4699-B4EA-42451388A1F9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2E99F311-B54F-4C38-8562-F8A0412D5A05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A06CA52-6C50-471B-8623-820E6A29FBA0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741042DA-6116-4840-9FAC-BF04130DD0C7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8DC6092-1698-4552-BBC6-FA49EB7ADF8A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63C94D3-329C-479D-8D78-27EA5793CAC6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F03DFE1-F1E9-42B5-BAEB-C3409F35943F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A0B4F0C8-3611-4333-B8C1-152559C3CE89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8CD382E-402D-40CA-BC81-AC717CE5676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C6292F8-B3B1-4FAB-93EF-B0A8F712C9DE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3BBBCA80-3EBD-468D-84BB-A379DF1B17B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5AB0BE8-10F4-4FCB-BAF9-6F3D39A8446E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758D3CD-3BAA-499A-BA1E-DCB5BA8EA8BB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7DB5E7B2-809E-4444-AF0F-ABA805F52A24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58524F90-94F7-4E48-B31A-E89809404DD7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A05756F-26BF-465C-9779-10B19061A88C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0192C2B-70B0-491B-9DA2-EC345D56E59C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4D8A00E-175D-436E-A73A-90159574A59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49B79F97-24D2-4A87-A78F-93C71BFA1BEA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BB73C1D-9CBE-48FF-8068-DB364CB354A2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894D927-1668-42DE-81FC-367EF29ADA8F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FFB79B4-B82D-4247-B709-C0401333E7F9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7A812ED-680D-4DAF-ABB6-962EB5AE5E69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46B4AEC1-7DB4-4D7A-BBE1-C3BA4C192FD9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245F8D8E-E30A-42EE-81A0-1A5483505935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879B72D-93A2-4F2D-A303-888876ADCEDA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4" name="Rectangle: Rounded Corners 133">
              <a:hlinkClick r:id="" action="ppaction://noaction"/>
              <a:extLst>
                <a:ext uri="{FF2B5EF4-FFF2-40B4-BE49-F238E27FC236}">
                  <a16:creationId xmlns:a16="http://schemas.microsoft.com/office/drawing/2014/main" id="{C7DA4AF6-B997-4980-B1EE-0A701612F912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5" name="Rectangle: Rounded Corners 134">
              <a:hlinkClick r:id="" action="ppaction://noaction"/>
              <a:extLst>
                <a:ext uri="{FF2B5EF4-FFF2-40B4-BE49-F238E27FC236}">
                  <a16:creationId xmlns:a16="http://schemas.microsoft.com/office/drawing/2014/main" id="{7B8829D5-3EFB-436D-ADEF-8B9020E83581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6" name="Rectangle: Rounded Corners 135">
              <a:hlinkClick r:id="" action="ppaction://noaction"/>
              <a:extLst>
                <a:ext uri="{FF2B5EF4-FFF2-40B4-BE49-F238E27FC236}">
                  <a16:creationId xmlns:a16="http://schemas.microsoft.com/office/drawing/2014/main" id="{E65B37C1-5349-4C65-81CF-4801FDAFCDC3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7" name="Rectangle 136">
            <a:hlinkClick r:id="" action="ppaction://noaction"/>
            <a:extLst>
              <a:ext uri="{FF2B5EF4-FFF2-40B4-BE49-F238E27FC236}">
                <a16:creationId xmlns:a16="http://schemas.microsoft.com/office/drawing/2014/main" id="{DE1F8632-5E6B-4C4C-8CCF-821F05736A3D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7C32447C-C5A0-477C-916F-4A44883EEEA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tangle 13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90C167C-FFFF-46D8-A06E-FA938DAEE34D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EFE8474A-332B-431F-BE40-5BE220D8664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>
            <a:extLst>
              <a:ext uri="{FF2B5EF4-FFF2-40B4-BE49-F238E27FC236}">
                <a16:creationId xmlns:a16="http://schemas.microsoft.com/office/drawing/2014/main" id="{8B8E3FB8-4F84-4987-B4DA-F41FEA2C364F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57721683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C693F22-37CE-E440-A764-0E367717FD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231" y="1999660"/>
            <a:ext cx="5259704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8784723-4AFA-4742-ADCB-358652FF6F72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22" name="object 2">
              <a:extLst>
                <a:ext uri="{FF2B5EF4-FFF2-40B4-BE49-F238E27FC236}">
                  <a16:creationId xmlns:a16="http://schemas.microsoft.com/office/drawing/2014/main" id="{4F62F695-717D-374C-802D-7FEBEAD6FE46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3">
              <a:extLst>
                <a:ext uri="{FF2B5EF4-FFF2-40B4-BE49-F238E27FC236}">
                  <a16:creationId xmlns:a16="http://schemas.microsoft.com/office/drawing/2014/main" id="{B392FAE7-9F0A-8D4D-94F3-8E024FD2710E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59548"/>
            <a:ext cx="10937489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814F731-5C23-3A4F-AFB0-7F1F2B08FA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7017" y="1999660"/>
            <a:ext cx="5259704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F1145A5-C0AA-45F0-B54F-A1EFA2C3520C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20C65AE-BBD6-4F37-916D-3795DC1A0D54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F7B5C5AE-41D5-4C9A-B6E2-AB40595D023B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94" name="Rectangle 93">
            <a:hlinkClick r:id="" action="ppaction://noaction"/>
            <a:extLst>
              <a:ext uri="{FF2B5EF4-FFF2-40B4-BE49-F238E27FC236}">
                <a16:creationId xmlns:a16="http://schemas.microsoft.com/office/drawing/2014/main" id="{C3F59F52-BBF7-44DD-8015-720CC72D8EEE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95" name="Rectangle 94">
            <a:hlinkClick r:id="" action="ppaction://noaction"/>
            <a:extLst>
              <a:ext uri="{FF2B5EF4-FFF2-40B4-BE49-F238E27FC236}">
                <a16:creationId xmlns:a16="http://schemas.microsoft.com/office/drawing/2014/main" id="{4D284ED2-C6F1-49F3-8FCC-B23BDCCA40E4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96" name="Rectangle 95">
            <a:hlinkClick r:id="" action="ppaction://noaction"/>
            <a:extLst>
              <a:ext uri="{FF2B5EF4-FFF2-40B4-BE49-F238E27FC236}">
                <a16:creationId xmlns:a16="http://schemas.microsoft.com/office/drawing/2014/main" id="{B2D9AC1E-9480-4C2C-A387-2FE8FF247910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97" name="Rectangle 96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D2D688FF-88DA-4E4C-8D73-A10A7B98511C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D16AE30-2F9F-4CAE-A4A0-7DE4D66E106D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3906F2F-796D-4794-87C7-1E1B51CEDEE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7B59154-4729-404B-9992-09DFD6846872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BF6D093F-F0B8-4C0C-A30E-DC9A4056A1FA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44D143C-137D-461B-85B3-6ABF1A0A924B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9C135204-71C8-4836-9846-FD86F6CB38E3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1D278B3C-FDF8-4BFE-B37A-0AD5889C3322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25D4B765-7C52-4E74-A3B3-8BE6C150650A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1477C8AC-F64B-411D-A66A-FE0AB17A558E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2B748BC6-8F19-4349-A07C-B98431661EEE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B8D85AF-92AA-44C9-9601-9E9EB3588344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262C662B-6D42-4F7C-A910-B96C3D7A972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9AA254F4-DA73-4B34-8BF1-AF94EAD5DEBE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0596576E-E4C6-4767-BC14-2453F86751E0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C9FD28F7-D786-4BE7-BE56-827E7C4F387D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1689ED2B-0F9E-48AB-856E-B4ECCFCF7C5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CFC1F8B-FAF8-4AD5-8478-4674F775E035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A60238C0-1631-4855-B56D-75F91EA8A2A8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7973709-3311-4531-BBEF-3E89E1FF602E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28FD53A0-5F12-44D9-81EC-C12F3954269D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A971D8F-8CA3-439D-91BB-B0206B5CC01D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052290C6-306E-4CB5-AE97-D93240878FB6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A90F3B0-E2B7-4467-BF62-EEE1DE27100E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0069DF9A-ACA1-413B-80A8-1229785AC116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E4D54DEF-F391-4FC6-8198-CA87A4DB682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E9A913E9-B2EC-4DBA-B31B-996F4CBEA249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A66EDCEE-BFF5-4FE3-8C4A-97F5C80796F1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34F5EA5-9728-494A-B3FC-6C00B2EF457F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7033FBB1-AC24-4484-AB26-C8BFDDDEB074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60E4C65-07A0-426B-B5B8-414CC254B107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CF4788E-5C64-4CCC-A40B-FC77A3B3331D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0F876CBA-8496-4A9B-994E-B71FD5192B31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9162674-52CD-4619-9174-05FD5527CF27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27B4C002-FEC4-41C9-A0DC-26A979F5CD1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458713A-97C8-4A62-B644-353222B06B8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D147EEF-D55E-4F33-B989-567523E3797A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51E0F54-E6DE-453E-8882-A6B748B629D6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5DDCF61-5E21-444A-B536-891021B7D5E6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84A7B114-0687-482E-A7AB-7B781F0B78E1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6D2F3107-736D-43B4-8D6C-0733843CDC08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CE53CB1-0AD7-4455-BF98-014B555ED1DB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341C2E0-D16E-4EF8-85C8-DC3668B7D29A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6F8DE2A-587B-4297-96E0-5901CE66FB8C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BB83355D-4465-41D6-B101-BD02F5FAD515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F44A9BB4-1E24-465F-9246-3009D67E544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CD51501-CD69-47B8-AAAA-CA6B07B9C13B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43E8F336-C3F1-4C7D-AD20-F2721FFC7CD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A6791D7C-CC88-4764-ADEC-844FFF4CE56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46" name="Rectangle: Rounded Corners 145">
              <a:hlinkClick r:id="" action="ppaction://noaction"/>
              <a:extLst>
                <a:ext uri="{FF2B5EF4-FFF2-40B4-BE49-F238E27FC236}">
                  <a16:creationId xmlns:a16="http://schemas.microsoft.com/office/drawing/2014/main" id="{5558D277-AA31-4670-B5C6-FB8AA8E3938F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47" name="Rectangle: Rounded Corners 146">
              <a:hlinkClick r:id="" action="ppaction://noaction"/>
              <a:extLst>
                <a:ext uri="{FF2B5EF4-FFF2-40B4-BE49-F238E27FC236}">
                  <a16:creationId xmlns:a16="http://schemas.microsoft.com/office/drawing/2014/main" id="{BF550DCF-95E7-4BB1-8B73-4BBAF60D706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48" name="Rectangle: Rounded Corners 147">
              <a:hlinkClick r:id="" action="ppaction://noaction"/>
              <a:extLst>
                <a:ext uri="{FF2B5EF4-FFF2-40B4-BE49-F238E27FC236}">
                  <a16:creationId xmlns:a16="http://schemas.microsoft.com/office/drawing/2014/main" id="{FD66825E-3A6C-4520-9182-DE8BF19A1A0C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49" name="Rectangle 148">
            <a:hlinkClick r:id="" action="ppaction://noaction"/>
            <a:extLst>
              <a:ext uri="{FF2B5EF4-FFF2-40B4-BE49-F238E27FC236}">
                <a16:creationId xmlns:a16="http://schemas.microsoft.com/office/drawing/2014/main" id="{A59B5DA6-243C-4FCC-B967-EE20650B4175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AAD1D0B-A9E3-4334-B49E-2E84C2986314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3091D29-CCB7-42E4-93F2-579206F8A542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3511231-B339-46C7-A73C-E48A771F08C6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40108655-4493-4078-9BDF-D5C69E52F379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0379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5AFD15-15E5-0276-29B5-48ED56D29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5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5AFD15-15E5-0276-29B5-48ED56D29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419BF2AC-5B85-C3CE-EE00-152E94FDE2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0313" y="-2780"/>
            <a:ext cx="6483963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5214876" cy="45134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AB5392-5704-E04E-E747-29A8663275E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CBC5A7-1EC6-EB25-52D6-D1B99B6B0FE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7A1CE9-4B2A-D4B3-92BC-789F541A4B6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530835-A7B3-DA57-0B5D-08A7B65C96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4FF597-37A2-9012-9F5C-6E3608EFF9A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475DC4-DFE2-242E-070E-AD22EA26489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92DA2D-652A-3FCC-1F7C-16919CA77FE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E1A11F-7269-D682-6CDB-1D1CEDC3DF6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31122F-F80D-B9E9-845C-1CA786BA955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63F9FB-9A84-2F9D-4951-A7000F923CE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A10105-6CE0-7743-DA10-E3A203AAC3B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F55446-AB3C-1BD6-D67F-3A7019358F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176BA80-2924-3690-AEF4-7AB56ACFC1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8DBF978-C9B6-8ADE-7C85-09150467A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C4806D5-A3C2-679A-663D-5471859DBB4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5750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261228"/>
            <a:ext cx="12192000" cy="6608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86B612-2846-D049-B19B-4570D6F3F5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>
              <a:defRPr sz="40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BDD1138-53BE-4E80-8EAE-8A4EE10D0682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6692E10-52EE-4FBE-AB7E-B7A02D83792A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CEAB4809-61A7-47AE-A88B-25FD4728AFD4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8" name="Rectangle 77">
            <a:hlinkClick r:id="" action="ppaction://noaction"/>
            <a:extLst>
              <a:ext uri="{FF2B5EF4-FFF2-40B4-BE49-F238E27FC236}">
                <a16:creationId xmlns:a16="http://schemas.microsoft.com/office/drawing/2014/main" id="{FCDFF3EA-5BF9-4184-99FE-6427C923C867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79" name="Rectangle 78">
            <a:hlinkClick r:id="" action="ppaction://noaction"/>
            <a:extLst>
              <a:ext uri="{FF2B5EF4-FFF2-40B4-BE49-F238E27FC236}">
                <a16:creationId xmlns:a16="http://schemas.microsoft.com/office/drawing/2014/main" id="{6D721B42-6283-4868-A5D8-7082D3B726EB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0" name="Rectangle 79">
            <a:hlinkClick r:id="" action="ppaction://noaction"/>
            <a:extLst>
              <a:ext uri="{FF2B5EF4-FFF2-40B4-BE49-F238E27FC236}">
                <a16:creationId xmlns:a16="http://schemas.microsoft.com/office/drawing/2014/main" id="{C9461C2A-AE21-4B4C-B688-6F51E9C96E7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1" name="Rectangle 80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493545F-5EB4-4E75-BCD5-DD7D3B66EB8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FABA5B56-631C-44DF-A745-F0FA87CC8D75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A6E1056-99A5-4F97-B8C5-251638DF9FC7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DB11A0F-18C0-41A5-B111-8A00DF2DC7E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1F00B1BF-2C96-455C-9AE8-6DCD81216CA8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804D8973-8015-4E43-A2EC-16448C6FB25A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3763636-7970-4DC3-8064-567AF9B3F88E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6F9E0ED-2786-4785-8EC2-231EC921B109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765DA2E-0C03-4D6A-ACB8-E32850F99F6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0C906AC7-555E-4CCB-AC17-98AA9CBA7E9F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F09F350-FEC9-47FE-9A8B-B20A1CDBDA5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4130F4CC-0ECC-4D20-AB44-00EED461C1EE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6DAA02E-9F75-462D-ADDA-71F227421AFD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9184EA8-D731-4D5F-BC9B-A01020445FF2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0CCB302-B1C6-4601-897D-C54292C4FDBB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CF88E30-1399-448D-8FA3-FAE621DD0D7C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03D1DC7-1311-4544-A6F2-02D883352936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7D8D2C45-7D36-49AD-9DAF-1674BC695C59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C381F2E-704B-444C-83A3-467E4134CA6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DE32B8A-7D93-4D1D-9968-191895D78E94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3214BDC-7527-46F4-9B3C-6665127B3459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1DCF8EE-3182-4FCB-B589-E129D550E833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7EE2822-CF46-4A8F-AF3B-F0FCE8D2D320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7247737-76A7-42A5-A362-D70A6F7217C6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B96D0E45-2D00-458F-88A1-96CB049591CD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AF39D16-9813-4345-A52D-02D8744347C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CCA8D8E-1D15-4F48-A54A-BDA2FE5F4B97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5F3B117F-706C-4EC4-BF32-897D1A1767F9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31E02BB-382F-42CE-91DC-E53CBAF682CC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D84F7CC4-903E-4CFE-960F-7E5A63175969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235D8B8C-13DF-4A94-B8E3-F60FA7F3D81C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9EAFD5B-2C1C-49A8-BDF9-85742F949BE7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91CF6DD0-B17A-4FFE-A978-33E9083BC89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5CCA642-8811-41C6-968C-797966A9E48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D4F1D24-696E-4D2E-9647-BBB2C5C154D2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BE26080-C452-45BF-B22D-C3BE3F2761B0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27E209FF-07B2-468B-BBE7-BACBA65CB8CD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D98EF04-5229-47FC-B788-0BC1873C8E7D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5B45665-4D39-45EC-BB7D-073C317D4437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4969C6C5-0FE6-4477-8E2A-50F89F804C34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F7AF5D51-B520-4E17-A007-77BDEE36E6C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ACC4058D-B765-425D-A758-42D193236E4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3867BE86-047F-4264-AB1D-1BE37507FEDF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5868B32-FB89-40FF-88EA-3F3CE44C98E5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679E9F4C-F852-428D-A0B2-1240450D4814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53C37AA-28E0-49A6-8891-D6279A8143AA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6005908-AC03-49EA-810A-D0C0C8623D89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6439A4F-CC24-470E-8EF6-99D9275E5FE1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1489010B-0A43-4C54-8877-0A3914FC1DEB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0" name="Rectangle: Rounded Corners 129">
              <a:hlinkClick r:id="" action="ppaction://noaction"/>
              <a:extLst>
                <a:ext uri="{FF2B5EF4-FFF2-40B4-BE49-F238E27FC236}">
                  <a16:creationId xmlns:a16="http://schemas.microsoft.com/office/drawing/2014/main" id="{81538311-0F51-4462-B488-A0882A91EF1C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3E2D37B7-E854-4AEE-AF72-723356DA3194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2" name="Rectangle: Rounded Corners 131">
              <a:hlinkClick r:id="" action="ppaction://noaction"/>
              <a:extLst>
                <a:ext uri="{FF2B5EF4-FFF2-40B4-BE49-F238E27FC236}">
                  <a16:creationId xmlns:a16="http://schemas.microsoft.com/office/drawing/2014/main" id="{F8758183-FF47-4B08-B7AD-79E5219C0267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3" name="Rectangle 132">
            <a:hlinkClick r:id="" action="ppaction://noaction"/>
            <a:extLst>
              <a:ext uri="{FF2B5EF4-FFF2-40B4-BE49-F238E27FC236}">
                <a16:creationId xmlns:a16="http://schemas.microsoft.com/office/drawing/2014/main" id="{F35ACCB3-D409-43A5-AA6C-AFDD3AD45DAB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C3C60AF-8050-4B37-BD46-93CC9FE5C3E1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5AEFB09-291F-4CFA-8371-12DB0033D57A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F7B0B6CC-3DB0-47FC-B76D-2EF67919F21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5526780B-4BBB-4A9C-8C33-7A38D3FE8BB0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40500015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56DAB0-81BD-6D3F-3DDD-691C8DB29D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57DA647-B83A-3C6D-D58D-6A6CFF2DA4F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40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O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1">
            <a:extLst>
              <a:ext uri="{FF2B5EF4-FFF2-40B4-BE49-F238E27FC236}">
                <a16:creationId xmlns:a16="http://schemas.microsoft.com/office/drawing/2014/main" id="{C33A297E-790C-3C79-81E2-E351C7442FA1}"/>
              </a:ext>
            </a:extLst>
          </p:cNvPr>
          <p:cNvSpPr/>
          <p:nvPr userDrawn="1"/>
        </p:nvSpPr>
        <p:spPr>
          <a:xfrm flipH="1">
            <a:off x="5909096" y="3979216"/>
            <a:ext cx="5711403" cy="2560320"/>
          </a:xfrm>
          <a:prstGeom prst="round2DiagRect">
            <a:avLst>
              <a:gd name="adj1" fmla="val 1703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ingle Corner Rectangle 2">
            <a:extLst>
              <a:ext uri="{FF2B5EF4-FFF2-40B4-BE49-F238E27FC236}">
                <a16:creationId xmlns:a16="http://schemas.microsoft.com/office/drawing/2014/main" id="{EF976616-8848-460B-D13F-B57173A0E6FD}"/>
              </a:ext>
            </a:extLst>
          </p:cNvPr>
          <p:cNvSpPr/>
          <p:nvPr userDrawn="1"/>
        </p:nvSpPr>
        <p:spPr>
          <a:xfrm rot="10800000" flipH="1" flipV="1">
            <a:off x="2" y="1295397"/>
            <a:ext cx="5711403" cy="5562599"/>
          </a:xfrm>
          <a:prstGeom prst="round1Rect">
            <a:avLst>
              <a:gd name="adj" fmla="val 132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id="{48643D2C-27A3-F872-8057-EAA88E97219F}"/>
              </a:ext>
            </a:extLst>
          </p:cNvPr>
          <p:cNvSpPr/>
          <p:nvPr userDrawn="1"/>
        </p:nvSpPr>
        <p:spPr>
          <a:xfrm flipH="1">
            <a:off x="5909096" y="1295393"/>
            <a:ext cx="5711403" cy="2560320"/>
          </a:xfrm>
          <a:prstGeom prst="round2DiagRect">
            <a:avLst>
              <a:gd name="adj1" fmla="val 1703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03BD9C4-2EAE-1B04-BDE5-5DC59CECF9D0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6127242" y="1509316"/>
            <a:ext cx="1411946" cy="508552"/>
            <a:chOff x="8214662" y="648755"/>
            <a:chExt cx="3558253" cy="1281606"/>
          </a:xfrm>
          <a:solidFill>
            <a:schemeClr val="bg1"/>
          </a:solidFill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9A5CBB0B-C124-F5A3-F3D9-EE8E653D1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25539" y="1306622"/>
              <a:ext cx="547362" cy="623739"/>
            </a:xfrm>
            <a:prstGeom prst="rect">
              <a:avLst/>
            </a:prstGeom>
          </p:spPr>
        </p:pic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42D67F17-44F9-5415-8939-4311AAE0CD51}"/>
                </a:ext>
              </a:extLst>
            </p:cNvPr>
            <p:cNvSpPr/>
            <p:nvPr/>
          </p:nvSpPr>
          <p:spPr>
            <a:xfrm>
              <a:off x="8214662" y="648755"/>
              <a:ext cx="3558253" cy="1047619"/>
            </a:xfrm>
            <a:prstGeom prst="roundRect">
              <a:avLst>
                <a:gd name="adj" fmla="val 221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6C017C8E-F142-CD9A-8ED9-31240E244E29}"/>
              </a:ext>
            </a:extLst>
          </p:cNvPr>
          <p:cNvSpPr txBox="1"/>
          <p:nvPr userDrawn="1"/>
        </p:nvSpPr>
        <p:spPr>
          <a:xfrm>
            <a:off x="6092949" y="1624835"/>
            <a:ext cx="1411947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defRPr/>
            </a:pPr>
            <a:r>
              <a:rPr lang="en-US" sz="1200" b="1">
                <a:latin typeface="Fibra One SemiBold" pitchFamily="2" charset="77"/>
                <a:ea typeface="+mj-ea"/>
                <a:cs typeface="+mj-cs"/>
              </a:rPr>
              <a:t>CSO messag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0D185D-65E2-C7E0-F72C-0072D42CF194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6127242" y="4193139"/>
            <a:ext cx="1411946" cy="508552"/>
            <a:chOff x="8214662" y="648755"/>
            <a:chExt cx="3558253" cy="1281606"/>
          </a:xfrm>
          <a:solidFill>
            <a:schemeClr val="bg1"/>
          </a:solidFill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0D3B02B-31FD-047F-EF5D-40696B994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25539" y="1306622"/>
              <a:ext cx="547362" cy="623739"/>
            </a:xfrm>
            <a:prstGeom prst="rect">
              <a:avLst/>
            </a:prstGeom>
          </p:spPr>
        </p:pic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C9F35401-C8D4-843B-F48B-7A6A5ADC42CF}"/>
                </a:ext>
              </a:extLst>
            </p:cNvPr>
            <p:cNvSpPr/>
            <p:nvPr/>
          </p:nvSpPr>
          <p:spPr>
            <a:xfrm>
              <a:off x="8214662" y="648755"/>
              <a:ext cx="3558253" cy="1047619"/>
            </a:xfrm>
            <a:prstGeom prst="roundRect">
              <a:avLst>
                <a:gd name="adj" fmla="val 221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5A5C22F-AB27-26EC-F8DC-9DA97FCAA99D}"/>
              </a:ext>
            </a:extLst>
          </p:cNvPr>
          <p:cNvSpPr txBox="1"/>
          <p:nvPr userDrawn="1"/>
        </p:nvSpPr>
        <p:spPr>
          <a:xfrm>
            <a:off x="6127242" y="4308658"/>
            <a:ext cx="1411947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defRPr/>
            </a:pPr>
            <a:r>
              <a:rPr lang="en-US" sz="1200" b="1">
                <a:latin typeface="Fibra One SemiBold" pitchFamily="2" charset="77"/>
                <a:ea typeface="+mj-ea"/>
                <a:cs typeface="+mj-cs"/>
              </a:rPr>
              <a:t>CFO mess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5905500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A69F7A8-29DF-84AB-E55A-CFB2483361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27241" y="2102161"/>
            <a:ext cx="5279511" cy="1078992"/>
          </a:xfrm>
        </p:spPr>
        <p:txBody>
          <a:bodyPr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tx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02EF7B1-F126-E83D-2205-13916ADD7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7241" y="4787886"/>
            <a:ext cx="5279511" cy="1078992"/>
          </a:xfrm>
        </p:spPr>
        <p:txBody>
          <a:bodyPr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bg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E336196-DAC1-8E7B-B22F-D7D8540496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900" y="2222547"/>
            <a:ext cx="4768116" cy="4316988"/>
          </a:xfrm>
        </p:spPr>
        <p:txBody>
          <a:bodyPr numCol="2" spcCol="228600"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tx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2F0AF28-16D6-4E23-49D4-DFAAE7EAE8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1" y="1580081"/>
            <a:ext cx="4768116" cy="492443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US" sz="1600" b="1" spc="-10" dirty="0" smtClean="0">
                <a:solidFill>
                  <a:srgbClr val="0052DB"/>
                </a:solidFill>
                <a:latin typeface="Fibra One UltraBold" pitchFamily="2" charset="77"/>
                <a:cs typeface="Tahom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Up to two lin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5138778-5F56-491F-CAA5-E3F70BAC2845}"/>
              </a:ext>
            </a:extLst>
          </p:cNvPr>
          <p:cNvSpPr txBox="1">
            <a:spLocks/>
          </p:cNvSpPr>
          <p:nvPr userDrawn="1"/>
        </p:nvSpPr>
        <p:spPr>
          <a:xfrm>
            <a:off x="6127241" y="3358106"/>
            <a:ext cx="3156095" cy="29674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3000"/>
              </a:lnSpc>
              <a:spcAft>
                <a:spcPts val="200"/>
              </a:spcAft>
            </a:pPr>
            <a:r>
              <a:rPr lang="en-US" sz="800">
                <a:latin typeface="Fibra One Heavy" panose="00000A00000000000000" pitchFamily="50" charset="0"/>
              </a:rPr>
              <a:t>Jim Andrew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en-US" sz="800">
                <a:latin typeface="+mn-lt"/>
              </a:rPr>
              <a:t>Executive Vice President and Chief Sustainability Officer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9B523405-987C-822D-17D7-C2DA752BCE2C}"/>
              </a:ext>
            </a:extLst>
          </p:cNvPr>
          <p:cNvSpPr txBox="1">
            <a:spLocks/>
          </p:cNvSpPr>
          <p:nvPr userDrawn="1"/>
        </p:nvSpPr>
        <p:spPr>
          <a:xfrm>
            <a:off x="6127242" y="5770513"/>
            <a:ext cx="2838958" cy="29674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3000"/>
              </a:lnSpc>
              <a:spcAft>
                <a:spcPts val="200"/>
              </a:spcAft>
            </a:pPr>
            <a:r>
              <a:rPr lang="en-US" sz="800">
                <a:solidFill>
                  <a:schemeClr val="bg1"/>
                </a:solidFill>
                <a:latin typeface="Fibra One Heavy" panose="00000A00000000000000" pitchFamily="50" charset="0"/>
              </a:rPr>
              <a:t>Jamie Caulfield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en-US" sz="800">
                <a:solidFill>
                  <a:schemeClr val="bg1"/>
                </a:solidFill>
                <a:latin typeface="+mn-lt"/>
              </a:rPr>
              <a:t>Executive Vice President and Chief Financial Offic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7F0ECD-E904-62EB-C097-3302E31C6D15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84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rgbClr val="E1F3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06AD8FF-C02A-ED02-A06A-4F9DCF48C3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7614100" y="0"/>
            <a:ext cx="4577900" cy="45779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321031FC-A3EA-2F90-ED17-7BEFDE7E60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1" y="2315853"/>
            <a:ext cx="4542147" cy="454214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2FE1210-88C4-76AC-1AA4-3D1562F5F8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257994" y="537493"/>
            <a:ext cx="523031" cy="553457"/>
            <a:chOff x="7003429" y="4740892"/>
            <a:chExt cx="183319" cy="193984"/>
          </a:xfrm>
          <a:solidFill>
            <a:schemeClr val="bg1"/>
          </a:solidFill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C984334-EF1E-7827-F504-478C3C46BC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56A3FCB2-87CF-9124-7E56-9FABE4B3A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28522" y="4740892"/>
              <a:ext cx="58226" cy="62592"/>
            </a:xfrm>
            <a:prstGeom prst="rect">
              <a:avLst/>
            </a:prstGeom>
          </p:spPr>
        </p:pic>
      </p:grpSp>
      <p:sp>
        <p:nvSpPr>
          <p:cNvPr id="11" name="object 17">
            <a:extLst>
              <a:ext uri="{FF2B5EF4-FFF2-40B4-BE49-F238E27FC236}">
                <a16:creationId xmlns:a16="http://schemas.microsoft.com/office/drawing/2014/main" id="{DB373330-40BA-35E2-65EF-BA68D0D54D9B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rgbClr val="001D90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rgbClr val="001D90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3FF65D72-85C3-656F-F1D9-B0064D77C3BA}"/>
              </a:ext>
            </a:extLst>
          </p:cNvPr>
          <p:cNvSpPr/>
          <p:nvPr userDrawn="1"/>
        </p:nvSpPr>
        <p:spPr>
          <a:xfrm>
            <a:off x="4689451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D20C1B47-D532-0228-0346-5F9F9CE06334}"/>
              </a:ext>
            </a:extLst>
          </p:cNvPr>
          <p:cNvSpPr/>
          <p:nvPr userDrawn="1"/>
        </p:nvSpPr>
        <p:spPr>
          <a:xfrm>
            <a:off x="7623475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6363D6F-504E-90BF-BBE6-B0E05DB489AA}"/>
              </a:ext>
            </a:extLst>
          </p:cNvPr>
          <p:cNvSpPr txBox="1"/>
          <p:nvPr userDrawn="1"/>
        </p:nvSpPr>
        <p:spPr>
          <a:xfrm>
            <a:off x="2128380" y="1612107"/>
            <a:ext cx="7935240" cy="13849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Our vision is to </a:t>
            </a: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</a:rPr>
              <a:t>Be the Global Leader in </a:t>
            </a:r>
            <a:r>
              <a:rPr kumimoji="0" lang="en-IN" sz="1600" b="1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  <a:ea typeface="+mn-ea"/>
                <a:cs typeface="+mn-cs"/>
              </a:rPr>
              <a:t>Convenient Foods and Drin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</a:rPr>
              <a:t>by Winning with PepsiCo Positiv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 (pep+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pep+ is our strategic end-to-end transformation that places sustainability at the center of how we will create growth and value by operating within planetary boundaries and inspiring positive change for the </a:t>
            </a:r>
            <a:r>
              <a:rPr lang="en-US" sz="1600" b="1">
                <a:solidFill>
                  <a:srgbClr val="000000"/>
                </a:solidFill>
                <a:latin typeface="Fibra One Bold" pitchFamily="2" charset="77"/>
              </a:rPr>
              <a:t>planet and peopl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17FD388-3538-AFC4-6E8E-25D244FE2C55}"/>
              </a:ext>
            </a:extLst>
          </p:cNvPr>
          <p:cNvGrpSpPr/>
          <p:nvPr userDrawn="1"/>
        </p:nvGrpSpPr>
        <p:grpSpPr>
          <a:xfrm>
            <a:off x="3890143" y="3240418"/>
            <a:ext cx="4411714" cy="776243"/>
            <a:chOff x="5148976" y="-719374"/>
            <a:chExt cx="4411714" cy="776243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0A313D5B-A02A-C5F9-DE42-C1F5A9C419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14590" y="-565431"/>
              <a:ext cx="546100" cy="6223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77C262F-42D6-AF4C-FF26-E5D7C3AB63AB}"/>
                </a:ext>
              </a:extLst>
            </p:cNvPr>
            <p:cNvSpPr txBox="1"/>
            <p:nvPr/>
          </p:nvSpPr>
          <p:spPr>
            <a:xfrm>
              <a:off x="5148976" y="-719374"/>
              <a:ext cx="4411714" cy="539794"/>
            </a:xfrm>
            <a:prstGeom prst="roundRect">
              <a:avLst>
                <a:gd name="adj" fmla="val 22124"/>
              </a:avLst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52DB"/>
                  </a:solidFill>
                  <a:effectLst/>
                  <a:uLnTx/>
                  <a:uFillTx/>
                  <a:latin typeface="Fibra One SemiBold" pitchFamily="2" charset="77"/>
                  <a:ea typeface="+mn-ea"/>
                  <a:cs typeface="+mn-cs"/>
                </a:rPr>
                <a:t>pep+ has three interconnected pillars:</a:t>
              </a:r>
            </a:p>
          </p:txBody>
        </p:sp>
      </p:grpSp>
      <p:sp>
        <p:nvSpPr>
          <p:cNvPr id="18" name="Round Same Side Corner Rectangle 17">
            <a:extLst>
              <a:ext uri="{FF2B5EF4-FFF2-40B4-BE49-F238E27FC236}">
                <a16:creationId xmlns:a16="http://schemas.microsoft.com/office/drawing/2014/main" id="{CEE03FD6-92B7-1922-13B5-A8EB40F0DE19}"/>
              </a:ext>
            </a:extLst>
          </p:cNvPr>
          <p:cNvSpPr/>
          <p:nvPr userDrawn="1"/>
        </p:nvSpPr>
        <p:spPr>
          <a:xfrm>
            <a:off x="1755426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bject 7">
            <a:extLst>
              <a:ext uri="{FF2B5EF4-FFF2-40B4-BE49-F238E27FC236}">
                <a16:creationId xmlns:a16="http://schemas.microsoft.com/office/drawing/2014/main" id="{8A950B9C-2D2A-15B5-DBE7-150F78CCA311}"/>
              </a:ext>
            </a:extLst>
          </p:cNvPr>
          <p:cNvSpPr txBox="1"/>
          <p:nvPr userDrawn="1"/>
        </p:nvSpPr>
        <p:spPr>
          <a:xfrm>
            <a:off x="7941937" y="5728361"/>
            <a:ext cx="2176174" cy="790473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bra One" pitchFamily="2" charset="77"/>
              </a:rPr>
              <a:t>We are inspiring people through our brands to make choices that create more smiles for them and the planet.</a:t>
            </a:r>
          </a:p>
        </p:txBody>
      </p:sp>
      <p:sp>
        <p:nvSpPr>
          <p:cNvPr id="20" name="object 7">
            <a:extLst>
              <a:ext uri="{FF2B5EF4-FFF2-40B4-BE49-F238E27FC236}">
                <a16:creationId xmlns:a16="http://schemas.microsoft.com/office/drawing/2014/main" id="{B990BD09-E2B7-C8F4-3EDE-F49038389C6F}"/>
              </a:ext>
            </a:extLst>
          </p:cNvPr>
          <p:cNvSpPr txBox="1"/>
          <p:nvPr userDrawn="1"/>
        </p:nvSpPr>
        <p:spPr>
          <a:xfrm>
            <a:off x="4938383" y="5728361"/>
            <a:ext cx="2315235" cy="407932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bra One" pitchFamily="2" charset="77"/>
              </a:rPr>
              <a:t>We are helping to build a circular and inclusive value chain.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D83791B2-B5B9-FB54-716C-37654345339D}"/>
              </a:ext>
            </a:extLst>
          </p:cNvPr>
          <p:cNvSpPr txBox="1"/>
          <p:nvPr userDrawn="1"/>
        </p:nvSpPr>
        <p:spPr>
          <a:xfrm>
            <a:off x="1991428" y="5728361"/>
            <a:ext cx="2341095" cy="790473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effectLst/>
                <a:uLnTx/>
                <a:uFillTx/>
                <a:latin typeface="Fibra One" pitchFamily="2" charset="77"/>
              </a:rPr>
              <a:t>We are working to source our crops and ingredients in ways that restore the earth and strengthen farming communities.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F0E87EF3-C3F8-D647-6E8A-FB43A1B23478}"/>
              </a:ext>
            </a:extLst>
          </p:cNvPr>
          <p:cNvSpPr txBox="1">
            <a:spLocks/>
          </p:cNvSpPr>
          <p:nvPr userDrawn="1"/>
        </p:nvSpPr>
        <p:spPr>
          <a:xfrm>
            <a:off x="2259971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Agricultu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ED9174D-797F-BBD1-8EF2-0048CF1B3D4C}"/>
              </a:ext>
            </a:extLst>
          </p:cNvPr>
          <p:cNvSpPr txBox="1">
            <a:spLocks/>
          </p:cNvSpPr>
          <p:nvPr userDrawn="1"/>
        </p:nvSpPr>
        <p:spPr>
          <a:xfrm>
            <a:off x="5193996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solidFill>
                  <a:schemeClr val="bg1"/>
                </a:solidFill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solidFill>
                  <a:schemeClr val="bg1"/>
                </a:solidFill>
                <a:latin typeface="Fibra One SemiBold" pitchFamily="2" charset="77"/>
              </a:rPr>
              <a:t>Value Chai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ACC5EFF-18FE-ED9C-7BC9-BFB423F2A6FE}"/>
              </a:ext>
            </a:extLst>
          </p:cNvPr>
          <p:cNvSpPr txBox="1">
            <a:spLocks/>
          </p:cNvSpPr>
          <p:nvPr userDrawn="1"/>
        </p:nvSpPr>
        <p:spPr>
          <a:xfrm>
            <a:off x="8128020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solidFill>
                  <a:schemeClr val="bg1"/>
                </a:solidFill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solidFill>
                  <a:schemeClr val="bg1"/>
                </a:solidFill>
                <a:latin typeface="Fibra One SemiBold" pitchFamily="2" charset="77"/>
              </a:rPr>
              <a:t>Choic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DAF4305-E010-B57F-DC18-D281AB698F1E}"/>
              </a:ext>
            </a:extLst>
          </p:cNvPr>
          <p:cNvSpPr txBox="1"/>
          <p:nvPr userDrawn="1"/>
        </p:nvSpPr>
        <p:spPr>
          <a:xfrm>
            <a:off x="5091306" y="713874"/>
            <a:ext cx="2009388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spc="0" baseline="0">
                <a:solidFill>
                  <a:srgbClr val="0052DB"/>
                </a:solidFill>
                <a:ea typeface="+mj-ea"/>
                <a:cs typeface="+mj-cs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/>
            </a:lvl2pPr>
            <a:lvl3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ctr"/>
            <a:r>
              <a:rPr lang="en-US"/>
              <a:t>pep+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51B489C-7B18-E6FF-1FB6-9A8769BF67D9}"/>
              </a:ext>
            </a:extLst>
          </p:cNvPr>
          <p:cNvSpPr txBox="1"/>
          <p:nvPr userDrawn="1"/>
        </p:nvSpPr>
        <p:spPr>
          <a:xfrm>
            <a:off x="3726984" y="994046"/>
            <a:ext cx="473803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0" spc="0" baseline="0">
                <a:latin typeface="Fibra One UltraBold" panose="00000900000000000000" pitchFamily="50" charset="0"/>
                <a:ea typeface="+mj-ea"/>
                <a:cs typeface="+mj-cs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/>
            </a:lvl2pPr>
            <a:lvl3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ctr"/>
            <a:r>
              <a:rPr lang="en-US"/>
              <a:t>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F81DFE-E627-482A-63CA-97B6E8CCB908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FDCFFF-D303-19AE-1A1A-996191403E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" b="56"/>
          <a:stretch/>
        </p:blipFill>
        <p:spPr>
          <a:xfrm>
            <a:off x="8526540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3C8A24-83FB-64F5-6A91-F0D8F0B8178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" b="56"/>
          <a:stretch/>
        </p:blipFill>
        <p:spPr>
          <a:xfrm>
            <a:off x="5592516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968C0B-C1E9-F4E8-E14E-6C708C83B1D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8491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7BBF2F9-C0FF-8985-5C1C-73DC339CAB7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185357" y="4732140"/>
            <a:ext cx="565533" cy="662486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180DAA55-E803-09FC-FAA3-08CC753D80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366714" y="4097901"/>
            <a:ext cx="180660" cy="18066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4687EB8-2F4D-6DF4-18F4-A6289E68DDE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85648" y="4317675"/>
            <a:ext cx="408802" cy="503602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FE7F3179-F413-7583-04EE-3F613EBBF39C}"/>
              </a:ext>
            </a:extLst>
          </p:cNvPr>
          <p:cNvSpPr/>
          <p:nvPr userDrawn="1"/>
        </p:nvSpPr>
        <p:spPr>
          <a:xfrm>
            <a:off x="55943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9CFE5FA-F07E-EF07-9627-28B9EDF46901}"/>
              </a:ext>
            </a:extLst>
          </p:cNvPr>
          <p:cNvSpPr/>
          <p:nvPr userDrawn="1"/>
        </p:nvSpPr>
        <p:spPr>
          <a:xfrm>
            <a:off x="85280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FD9B1D4-EC42-7702-D086-F5726110873C}"/>
              </a:ext>
            </a:extLst>
          </p:cNvPr>
          <p:cNvSpPr/>
          <p:nvPr userDrawn="1"/>
        </p:nvSpPr>
        <p:spPr>
          <a:xfrm>
            <a:off x="26606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04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3602736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ound Same Side Corner Rectangle 1">
            <a:extLst>
              <a:ext uri="{FF2B5EF4-FFF2-40B4-BE49-F238E27FC236}">
                <a16:creationId xmlns:a16="http://schemas.microsoft.com/office/drawing/2014/main" id="{D3F05D43-8F1E-0FB9-4E9A-93BDAC42F03F}"/>
              </a:ext>
            </a:extLst>
          </p:cNvPr>
          <p:cNvSpPr/>
          <p:nvPr userDrawn="1"/>
        </p:nvSpPr>
        <p:spPr>
          <a:xfrm>
            <a:off x="584873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C00ADAFF-8EFF-C317-5A74-DDAAAF519A6C}"/>
              </a:ext>
            </a:extLst>
          </p:cNvPr>
          <p:cNvSpPr/>
          <p:nvPr userDrawn="1"/>
        </p:nvSpPr>
        <p:spPr>
          <a:xfrm>
            <a:off x="753081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F4598B-E19F-E62F-31F2-7191785707BD}"/>
              </a:ext>
            </a:extLst>
          </p:cNvPr>
          <p:cNvSpPr/>
          <p:nvPr userDrawn="1"/>
        </p:nvSpPr>
        <p:spPr>
          <a:xfrm>
            <a:off x="9212891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90ACC3B7-747B-ADB7-05A6-A1BB0F9F5C2A}"/>
              </a:ext>
            </a:extLst>
          </p:cNvPr>
          <p:cNvSpPr/>
          <p:nvPr userDrawn="1"/>
        </p:nvSpPr>
        <p:spPr>
          <a:xfrm>
            <a:off x="416665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B09F65D2-44B9-219E-5687-69F7FB7D5ED4}"/>
              </a:ext>
            </a:extLst>
          </p:cNvPr>
          <p:cNvSpPr/>
          <p:nvPr userDrawn="1"/>
        </p:nvSpPr>
        <p:spPr>
          <a:xfrm>
            <a:off x="0" y="1601862"/>
            <a:ext cx="11620500" cy="5256137"/>
          </a:xfrm>
          <a:prstGeom prst="round1Rect">
            <a:avLst>
              <a:gd name="adj" fmla="val 158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887D31-7834-6334-AA9C-BCB7C1ACB59B}"/>
              </a:ext>
            </a:extLst>
          </p:cNvPr>
          <p:cNvSpPr txBox="1"/>
          <p:nvPr userDrawn="1"/>
        </p:nvSpPr>
        <p:spPr>
          <a:xfrm>
            <a:off x="5957921" y="689347"/>
            <a:ext cx="1408176" cy="75405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1B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times each day PepsiCo products are enjoyed around the worl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D290FC-F15F-40B1-9FC7-8F41007999D0}"/>
              </a:ext>
            </a:extLst>
          </p:cNvPr>
          <p:cNvSpPr txBox="1"/>
          <p:nvPr userDrawn="1"/>
        </p:nvSpPr>
        <p:spPr>
          <a:xfrm>
            <a:off x="7640001" y="689347"/>
            <a:ext cx="1408176" cy="47705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$91B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net revenue in 202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83CFD03-10C1-A9BB-95FD-416F2FFA3D1B}"/>
              </a:ext>
            </a:extLst>
          </p:cNvPr>
          <p:cNvSpPr txBox="1"/>
          <p:nvPr userDrawn="1"/>
        </p:nvSpPr>
        <p:spPr>
          <a:xfrm>
            <a:off x="9322082" y="689347"/>
            <a:ext cx="1408176" cy="75405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200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countries and territories where our products are sold</a:t>
            </a:r>
          </a:p>
        </p:txBody>
      </p:sp>
      <p:pic>
        <p:nvPicPr>
          <p:cNvPr id="22" name="Picture 21" descr="A picture containing animated cartoon, clipart, cartoon&#10;&#10;Description automatically generated">
            <a:extLst>
              <a:ext uri="{FF2B5EF4-FFF2-40B4-BE49-F238E27FC236}">
                <a16:creationId xmlns:a16="http://schemas.microsoft.com/office/drawing/2014/main" id="{4E3262C6-1C55-8A46-15CB-4AB1AA5B43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7" r="2007" b="4472"/>
          <a:stretch/>
        </p:blipFill>
        <p:spPr>
          <a:xfrm>
            <a:off x="4188069" y="1865623"/>
            <a:ext cx="7183315" cy="48851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0290D08-5FE5-1811-84D9-124311F30370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05B1E9-7B84-7A6D-6D60-52384FD0FB6D}"/>
              </a:ext>
            </a:extLst>
          </p:cNvPr>
          <p:cNvSpPr txBox="1"/>
          <p:nvPr userDrawn="1"/>
        </p:nvSpPr>
        <p:spPr>
          <a:xfrm>
            <a:off x="4275841" y="689347"/>
            <a:ext cx="1408176" cy="84638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N" sz="2200">
                <a:solidFill>
                  <a:schemeClr val="bg1"/>
                </a:solidFill>
                <a:latin typeface="Fibra One UltraBold" panose="00000900000000000000" pitchFamily="50" charset="0"/>
              </a:rPr>
              <a:t>~318K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employees globally</a:t>
            </a: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r"/>
            <a:r>
              <a:rPr lang="en-US" sz="600">
                <a:solidFill>
                  <a:schemeClr val="bg1"/>
                </a:solidFill>
                <a:latin typeface="Fibra One SemiBold" panose="00000700000000000000" pitchFamily="50" charset="0"/>
              </a:rPr>
              <a:t>as of December 30, 2023</a:t>
            </a:r>
          </a:p>
        </p:txBody>
      </p:sp>
    </p:spTree>
    <p:extLst>
      <p:ext uri="{BB962C8B-B14F-4D97-AF65-F5344CB8AC3E}">
        <p14:creationId xmlns:p14="http://schemas.microsoft.com/office/powerpoint/2010/main" val="389669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icture Placeholder 93">
            <a:extLst>
              <a:ext uri="{FF2B5EF4-FFF2-40B4-BE49-F238E27FC236}">
                <a16:creationId xmlns:a16="http://schemas.microsoft.com/office/drawing/2014/main" id="{D2CFE779-4B19-ABA9-F599-71F885ECB41E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5338124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9 w 3264664"/>
              <a:gd name="connsiteY4" fmla="*/ 783018 h 783018"/>
              <a:gd name="connsiteX5" fmla="*/ 467659 w 3264664"/>
              <a:gd name="connsiteY5" fmla="*/ 626004 h 783018"/>
              <a:gd name="connsiteX6" fmla="*/ 433383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9" y="783018"/>
                </a:lnTo>
                <a:lnTo>
                  <a:pt x="467659" y="626004"/>
                </a:lnTo>
                <a:cubicBezTo>
                  <a:pt x="467659" y="607074"/>
                  <a:pt x="452313" y="591728"/>
                  <a:pt x="433383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5" name="Picture Placeholder 94">
            <a:extLst>
              <a:ext uri="{FF2B5EF4-FFF2-40B4-BE49-F238E27FC236}">
                <a16:creationId xmlns:a16="http://schemas.microsoft.com/office/drawing/2014/main" id="{2DC2E1C7-06D8-490F-BD7C-EE46B6E6F96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668273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9 w 3264664"/>
              <a:gd name="connsiteY4" fmla="*/ 783018 h 783018"/>
              <a:gd name="connsiteX5" fmla="*/ 467659 w 3264664"/>
              <a:gd name="connsiteY5" fmla="*/ 626004 h 783018"/>
              <a:gd name="connsiteX6" fmla="*/ 433383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9" y="783018"/>
                </a:lnTo>
                <a:lnTo>
                  <a:pt x="467659" y="626004"/>
                </a:lnTo>
                <a:cubicBezTo>
                  <a:pt x="467659" y="607074"/>
                  <a:pt x="452313" y="591728"/>
                  <a:pt x="433383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3" name="Picture Placeholder 92">
            <a:extLst>
              <a:ext uri="{FF2B5EF4-FFF2-40B4-BE49-F238E27FC236}">
                <a16:creationId xmlns:a16="http://schemas.microsoft.com/office/drawing/2014/main" id="{B1A44C03-B942-37F6-BA4F-11AAA6163B5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2007974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8 w 3264664"/>
              <a:gd name="connsiteY4" fmla="*/ 783018 h 783018"/>
              <a:gd name="connsiteX5" fmla="*/ 467658 w 3264664"/>
              <a:gd name="connsiteY5" fmla="*/ 626004 h 783018"/>
              <a:gd name="connsiteX6" fmla="*/ 433382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8" y="783018"/>
                </a:lnTo>
                <a:lnTo>
                  <a:pt x="467658" y="626004"/>
                </a:lnTo>
                <a:cubicBezTo>
                  <a:pt x="467658" y="607074"/>
                  <a:pt x="452312" y="591728"/>
                  <a:pt x="433382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2" name="Picture Placeholder 91">
            <a:extLst>
              <a:ext uri="{FF2B5EF4-FFF2-40B4-BE49-F238E27FC236}">
                <a16:creationId xmlns:a16="http://schemas.microsoft.com/office/drawing/2014/main" id="{F10F9E71-7DF9-FA32-99A0-64E8C672CC7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42899" y="3455065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9367 h 783018"/>
              <a:gd name="connsiteX6" fmla="*/ 433383 w 1600200"/>
              <a:gd name="connsiteY6" fmla="*/ 595091 h 783018"/>
              <a:gd name="connsiteX7" fmla="*/ 0 w 1600200"/>
              <a:gd name="connsiteY7" fmla="*/ 595091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9367"/>
                </a:lnTo>
                <a:cubicBezTo>
                  <a:pt x="467659" y="610437"/>
                  <a:pt x="452313" y="595091"/>
                  <a:pt x="433383" y="595091"/>
                </a:cubicBezTo>
                <a:lnTo>
                  <a:pt x="0" y="595091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0" name="Picture Placeholder 79">
            <a:extLst>
              <a:ext uri="{FF2B5EF4-FFF2-40B4-BE49-F238E27FC236}">
                <a16:creationId xmlns:a16="http://schemas.microsoft.com/office/drawing/2014/main" id="{47F94CE4-6901-AC58-70F7-5E6F0E9352C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42899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1" name="Picture Placeholder 80">
            <a:extLst>
              <a:ext uri="{FF2B5EF4-FFF2-40B4-BE49-F238E27FC236}">
                <a16:creationId xmlns:a16="http://schemas.microsoft.com/office/drawing/2014/main" id="{D919CAE2-E7D8-9865-F3C2-60F50708B4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00797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2" name="Picture Placeholder 81">
            <a:extLst>
              <a:ext uri="{FF2B5EF4-FFF2-40B4-BE49-F238E27FC236}">
                <a16:creationId xmlns:a16="http://schemas.microsoft.com/office/drawing/2014/main" id="{2297B5FA-6131-BB5E-E12D-B2B2F0B3CE3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673048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A8D14D86-EF48-7329-B004-BAA076D26AE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33812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4" name="Picture Placeholder 83">
            <a:extLst>
              <a:ext uri="{FF2B5EF4-FFF2-40B4-BE49-F238E27FC236}">
                <a16:creationId xmlns:a16="http://schemas.microsoft.com/office/drawing/2014/main" id="{52122341-25AE-DAA3-A6D1-439DC79B82E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003199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2516F144-8A1A-2245-BAE7-7D7C72DEEB1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66827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8" name="Picture Placeholder 87">
            <a:extLst>
              <a:ext uri="{FF2B5EF4-FFF2-40B4-BE49-F238E27FC236}">
                <a16:creationId xmlns:a16="http://schemas.microsoft.com/office/drawing/2014/main" id="{8B5173AE-AE78-1486-FAB4-AE7533495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333347" y="1719657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6005 h 783018"/>
              <a:gd name="connsiteX6" fmla="*/ 433383 w 1600200"/>
              <a:gd name="connsiteY6" fmla="*/ 591729 h 783018"/>
              <a:gd name="connsiteX7" fmla="*/ 0 w 1600200"/>
              <a:gd name="connsiteY7" fmla="*/ 591729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6005"/>
                </a:lnTo>
                <a:cubicBezTo>
                  <a:pt x="467659" y="607075"/>
                  <a:pt x="452313" y="591729"/>
                  <a:pt x="433383" y="591729"/>
                </a:cubicBezTo>
                <a:lnTo>
                  <a:pt x="0" y="591729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DC9058-100E-D0B5-56FF-17B8168C4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6592824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F5E058D-A480-A001-3EAB-C6ACD7C1DE08}"/>
              </a:ext>
            </a:extLst>
          </p:cNvPr>
          <p:cNvSpPr/>
          <p:nvPr userDrawn="1"/>
        </p:nvSpPr>
        <p:spPr>
          <a:xfrm>
            <a:off x="11787598" y="4637728"/>
            <a:ext cx="224986" cy="1984917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DDEB3C1-9A7D-D1C8-0141-68774150C68D}"/>
              </a:ext>
            </a:extLst>
          </p:cNvPr>
          <p:cNvCxnSpPr>
            <a:cxnSpLocks/>
          </p:cNvCxnSpPr>
          <p:nvPr userDrawn="1"/>
        </p:nvCxnSpPr>
        <p:spPr>
          <a:xfrm>
            <a:off x="342899" y="2517035"/>
            <a:ext cx="11756174" cy="0"/>
          </a:xfrm>
          <a:prstGeom prst="line">
            <a:avLst/>
          </a:prstGeom>
          <a:ln w="25400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39AA07C-4E62-39D2-B3F4-131AC303CFBB}"/>
              </a:ext>
            </a:extLst>
          </p:cNvPr>
          <p:cNvCxnSpPr>
            <a:cxnSpLocks/>
          </p:cNvCxnSpPr>
          <p:nvPr userDrawn="1"/>
        </p:nvCxnSpPr>
        <p:spPr>
          <a:xfrm>
            <a:off x="342899" y="4255805"/>
            <a:ext cx="11756174" cy="0"/>
          </a:xfrm>
          <a:prstGeom prst="line">
            <a:avLst/>
          </a:prstGeom>
          <a:ln w="25400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E0491554-E74E-64A6-5454-D25BE5E8C246}"/>
              </a:ext>
            </a:extLst>
          </p:cNvPr>
          <p:cNvSpPr txBox="1">
            <a:spLocks/>
          </p:cNvSpPr>
          <p:nvPr userDrawn="1"/>
        </p:nvSpPr>
        <p:spPr>
          <a:xfrm>
            <a:off x="342899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06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2D461E4C-6696-1825-B460-B913652452D6}"/>
              </a:ext>
            </a:extLst>
          </p:cNvPr>
          <p:cNvSpPr txBox="1">
            <a:spLocks/>
          </p:cNvSpPr>
          <p:nvPr userDrawn="1"/>
        </p:nvSpPr>
        <p:spPr>
          <a:xfrm>
            <a:off x="200797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0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6874C618-5CC9-04C0-B5E2-C1682D9315CE}"/>
              </a:ext>
            </a:extLst>
          </p:cNvPr>
          <p:cNvSpPr txBox="1">
            <a:spLocks/>
          </p:cNvSpPr>
          <p:nvPr userDrawn="1"/>
        </p:nvSpPr>
        <p:spPr>
          <a:xfrm>
            <a:off x="3673048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2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BECC8A08-219D-12F5-3381-2EAA4579E162}"/>
              </a:ext>
            </a:extLst>
          </p:cNvPr>
          <p:cNvSpPr txBox="1">
            <a:spLocks/>
          </p:cNvSpPr>
          <p:nvPr userDrawn="1"/>
        </p:nvSpPr>
        <p:spPr>
          <a:xfrm>
            <a:off x="533812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3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C4321018-6AA5-FB8E-3ED4-E41501E4E560}"/>
              </a:ext>
            </a:extLst>
          </p:cNvPr>
          <p:cNvSpPr txBox="1">
            <a:spLocks/>
          </p:cNvSpPr>
          <p:nvPr userDrawn="1"/>
        </p:nvSpPr>
        <p:spPr>
          <a:xfrm>
            <a:off x="7003199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7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9DC8A3A3-C23D-74EB-65B1-479A2F735FBA}"/>
              </a:ext>
            </a:extLst>
          </p:cNvPr>
          <p:cNvSpPr txBox="1">
            <a:spLocks/>
          </p:cNvSpPr>
          <p:nvPr userDrawn="1"/>
        </p:nvSpPr>
        <p:spPr>
          <a:xfrm>
            <a:off x="866827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8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97EAA17B-4391-E87B-CDD1-57E0B7CF997E}"/>
              </a:ext>
            </a:extLst>
          </p:cNvPr>
          <p:cNvSpPr txBox="1">
            <a:spLocks/>
          </p:cNvSpPr>
          <p:nvPr userDrawn="1"/>
        </p:nvSpPr>
        <p:spPr>
          <a:xfrm>
            <a:off x="10333347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9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9EFD6BE4-DE66-A5D9-46CC-72F29CDE28DA}"/>
              </a:ext>
            </a:extLst>
          </p:cNvPr>
          <p:cNvSpPr txBox="1">
            <a:spLocks/>
          </p:cNvSpPr>
          <p:nvPr userDrawn="1"/>
        </p:nvSpPr>
        <p:spPr>
          <a:xfrm>
            <a:off x="2007973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1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F9FE8F33-E4E9-1441-F96A-68BCEBC4C65A}"/>
              </a:ext>
            </a:extLst>
          </p:cNvPr>
          <p:cNvSpPr txBox="1">
            <a:spLocks/>
          </p:cNvSpPr>
          <p:nvPr userDrawn="1"/>
        </p:nvSpPr>
        <p:spPr>
          <a:xfrm>
            <a:off x="5338124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2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66A06633-CB20-FC76-2FCD-F20CC5E7CB83}"/>
              </a:ext>
            </a:extLst>
          </p:cNvPr>
          <p:cNvSpPr txBox="1">
            <a:spLocks/>
          </p:cNvSpPr>
          <p:nvPr userDrawn="1"/>
        </p:nvSpPr>
        <p:spPr>
          <a:xfrm>
            <a:off x="8668273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3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3FB4279-C47D-4EE8-044C-5E5650637AA7}"/>
              </a:ext>
            </a:extLst>
          </p:cNvPr>
          <p:cNvSpPr txBox="1">
            <a:spLocks/>
          </p:cNvSpPr>
          <p:nvPr userDrawn="1"/>
        </p:nvSpPr>
        <p:spPr>
          <a:xfrm>
            <a:off x="342899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0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D347BBC-307D-4475-1C1C-EE983EB31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 marL="0" marR="5080" indent="0" algn="l" defTabSz="914400" rtl="0" eaLnBrk="1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b="0" kern="1200" spc="-30" dirty="0">
                <a:solidFill>
                  <a:schemeClr val="bg1"/>
                </a:solidFill>
                <a:latin typeface="Fibra One" pitchFamily="2" charset="77"/>
                <a:ea typeface="+mn-ea"/>
                <a:cs typeface="+mn-cs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7">
            <a:extLst>
              <a:ext uri="{FF2B5EF4-FFF2-40B4-BE49-F238E27FC236}">
                <a16:creationId xmlns:a16="http://schemas.microsoft.com/office/drawing/2014/main" id="{1AE6B1F4-0664-C765-1501-CE8357D84A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899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7" name="Text Placeholder 47">
            <a:extLst>
              <a:ext uri="{FF2B5EF4-FFF2-40B4-BE49-F238E27FC236}">
                <a16:creationId xmlns:a16="http://schemas.microsoft.com/office/drawing/2014/main" id="{4484F743-CD94-D3BB-E336-604F5528D8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07972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9" name="Text Placeholder 47">
            <a:extLst>
              <a:ext uri="{FF2B5EF4-FFF2-40B4-BE49-F238E27FC236}">
                <a16:creationId xmlns:a16="http://schemas.microsoft.com/office/drawing/2014/main" id="{4005FE80-F5D0-BD85-2C26-03DD44D66F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73048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0" name="Text Placeholder 47">
            <a:extLst>
              <a:ext uri="{FF2B5EF4-FFF2-40B4-BE49-F238E27FC236}">
                <a16:creationId xmlns:a16="http://schemas.microsoft.com/office/drawing/2014/main" id="{776776EB-90FB-2227-17AF-78A90C5A9E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8123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1" name="Text Placeholder 47">
            <a:extLst>
              <a:ext uri="{FF2B5EF4-FFF2-40B4-BE49-F238E27FC236}">
                <a16:creationId xmlns:a16="http://schemas.microsoft.com/office/drawing/2014/main" id="{34B3A7BC-25FC-A849-F10F-8C52A78BBA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03198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2" name="Text Placeholder 47">
            <a:extLst>
              <a:ext uri="{FF2B5EF4-FFF2-40B4-BE49-F238E27FC236}">
                <a16:creationId xmlns:a16="http://schemas.microsoft.com/office/drawing/2014/main" id="{358FB6A4-04CB-344C-1E71-A9B45EB145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8273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3" name="Text Placeholder 47">
            <a:extLst>
              <a:ext uri="{FF2B5EF4-FFF2-40B4-BE49-F238E27FC236}">
                <a16:creationId xmlns:a16="http://schemas.microsoft.com/office/drawing/2014/main" id="{56E70E99-D60C-225E-27C9-4638A74D52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33346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4" name="Text Placeholder 47">
            <a:extLst>
              <a:ext uri="{FF2B5EF4-FFF2-40B4-BE49-F238E27FC236}">
                <a16:creationId xmlns:a16="http://schemas.microsoft.com/office/drawing/2014/main" id="{2AECB742-354F-7D4C-2ED1-AE43A4FF0B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2899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7">
            <a:extLst>
              <a:ext uri="{FF2B5EF4-FFF2-40B4-BE49-F238E27FC236}">
                <a16:creationId xmlns:a16="http://schemas.microsoft.com/office/drawing/2014/main" id="{B0E4FDB2-F2D7-DF14-1D78-EEA1676ECB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73048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CC059AA4-6A78-7409-8D2C-837CFA5AD0A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07972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7" name="Text Placeholder 47">
            <a:extLst>
              <a:ext uri="{FF2B5EF4-FFF2-40B4-BE49-F238E27FC236}">
                <a16:creationId xmlns:a16="http://schemas.microsoft.com/office/drawing/2014/main" id="{D4284660-8704-EB87-2011-15A2542FB3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338123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539BAD09-C214-ABF7-3C46-A82267CDDB6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03198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 Placeholder 47">
            <a:extLst>
              <a:ext uri="{FF2B5EF4-FFF2-40B4-BE49-F238E27FC236}">
                <a16:creationId xmlns:a16="http://schemas.microsoft.com/office/drawing/2014/main" id="{C765BBC5-CF65-6DCE-F2AE-4A3755DE5A8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68273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0" name="Text Placeholder 47">
            <a:extLst>
              <a:ext uri="{FF2B5EF4-FFF2-40B4-BE49-F238E27FC236}">
                <a16:creationId xmlns:a16="http://schemas.microsoft.com/office/drawing/2014/main" id="{718E898A-D6D1-3994-279B-C61C10B7044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333346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790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sults Highlig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5F1FA1-A920-7513-E3EC-9B63B6A12C0E}"/>
              </a:ext>
            </a:extLst>
          </p:cNvPr>
          <p:cNvSpPr/>
          <p:nvPr userDrawn="1"/>
        </p:nvSpPr>
        <p:spPr>
          <a:xfrm>
            <a:off x="2549405" y="1186885"/>
            <a:ext cx="7104038" cy="85039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50F4C0-44C2-E982-A49C-72871353F13F}"/>
              </a:ext>
            </a:extLst>
          </p:cNvPr>
          <p:cNvSpPr/>
          <p:nvPr userDrawn="1"/>
        </p:nvSpPr>
        <p:spPr>
          <a:xfrm>
            <a:off x="9707880" y="1186885"/>
            <a:ext cx="2331720" cy="850392"/>
          </a:xfrm>
          <a:prstGeom prst="rect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73C76FA-0AA4-BBCE-73D6-D46E2280FC2A}"/>
              </a:ext>
            </a:extLst>
          </p:cNvPr>
          <p:cNvSpPr/>
          <p:nvPr userDrawn="1"/>
        </p:nvSpPr>
        <p:spPr>
          <a:xfrm>
            <a:off x="163246" y="1186885"/>
            <a:ext cx="2331720" cy="850392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BF4616D-5872-8F78-6512-EA3910A2F0C5}"/>
              </a:ext>
            </a:extLst>
          </p:cNvPr>
          <p:cNvSpPr txBox="1">
            <a:spLocks/>
          </p:cNvSpPr>
          <p:nvPr userDrawn="1"/>
        </p:nvSpPr>
        <p:spPr>
          <a:xfrm>
            <a:off x="427102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Agricultur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74ADA92-96FB-857D-906A-D503DEBA5743}"/>
              </a:ext>
            </a:extLst>
          </p:cNvPr>
          <p:cNvSpPr txBox="1">
            <a:spLocks/>
          </p:cNvSpPr>
          <p:nvPr userDrawn="1"/>
        </p:nvSpPr>
        <p:spPr>
          <a:xfrm>
            <a:off x="5199420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Value Chai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9532B06-8B1D-456E-74CA-C3DB0CADB092}"/>
              </a:ext>
            </a:extLst>
          </p:cNvPr>
          <p:cNvSpPr txBox="1">
            <a:spLocks/>
          </p:cNvSpPr>
          <p:nvPr userDrawn="1"/>
        </p:nvSpPr>
        <p:spPr>
          <a:xfrm>
            <a:off x="9971736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Choices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0FD2F776-90D4-4D29-2DE8-BC3A348C1937}"/>
              </a:ext>
            </a:extLst>
          </p:cNvPr>
          <p:cNvSpPr txBox="1">
            <a:spLocks/>
          </p:cNvSpPr>
          <p:nvPr userDrawn="1"/>
        </p:nvSpPr>
        <p:spPr>
          <a:xfrm>
            <a:off x="4429250" y="686625"/>
            <a:ext cx="3333501" cy="3323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spc="0" baseline="0">
                <a:solidFill>
                  <a:schemeClr val="tx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Results highlight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1AA6006-A3CE-DC15-3205-EE449E5E8732}"/>
              </a:ext>
            </a:extLst>
          </p:cNvPr>
          <p:cNvSpPr txBox="1">
            <a:spLocks/>
          </p:cNvSpPr>
          <p:nvPr userDrawn="1"/>
        </p:nvSpPr>
        <p:spPr>
          <a:xfrm>
            <a:off x="5427139" y="382320"/>
            <a:ext cx="1337723" cy="22595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rgbClr val="0052DB"/>
                </a:solidFill>
                <a:latin typeface="+mn-lt"/>
                <a:ea typeface="+mj-ea"/>
                <a:cs typeface="+mj-cs"/>
              </a:rPr>
              <a:t>202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65CA96F-B49F-655F-F3E0-4F8BD0CEB47E}"/>
              </a:ext>
            </a:extLst>
          </p:cNvPr>
          <p:cNvSpPr/>
          <p:nvPr userDrawn="1"/>
        </p:nvSpPr>
        <p:spPr>
          <a:xfrm>
            <a:off x="4935564" y="364228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FB31A4-B6FC-6855-F4CD-79EF7F4723F6}"/>
              </a:ext>
            </a:extLst>
          </p:cNvPr>
          <p:cNvSpPr/>
          <p:nvPr userDrawn="1"/>
        </p:nvSpPr>
        <p:spPr>
          <a:xfrm>
            <a:off x="2549405" y="3642285"/>
            <a:ext cx="2331720" cy="15087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B9C4AFB-A77D-2D2E-828D-71E0CD5AD29D}"/>
              </a:ext>
            </a:extLst>
          </p:cNvPr>
          <p:cNvSpPr/>
          <p:nvPr userDrawn="1"/>
        </p:nvSpPr>
        <p:spPr>
          <a:xfrm>
            <a:off x="163246" y="3642285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4F184A-2CF6-7AED-87F9-6206BC507549}"/>
              </a:ext>
            </a:extLst>
          </p:cNvPr>
          <p:cNvSpPr/>
          <p:nvPr userDrawn="1"/>
        </p:nvSpPr>
        <p:spPr>
          <a:xfrm>
            <a:off x="7321723" y="364228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769A88-4D95-824F-51BC-FF0EEAD1A3C2}"/>
              </a:ext>
            </a:extLst>
          </p:cNvPr>
          <p:cNvSpPr/>
          <p:nvPr userDrawn="1"/>
        </p:nvSpPr>
        <p:spPr>
          <a:xfrm>
            <a:off x="9707880" y="3642285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F452597-3180-9C17-5B89-28C01F473A1A}"/>
              </a:ext>
            </a:extLst>
          </p:cNvPr>
          <p:cNvSpPr/>
          <p:nvPr userDrawn="1"/>
        </p:nvSpPr>
        <p:spPr>
          <a:xfrm>
            <a:off x="4935564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2299F0-53E2-19CA-16FC-94C17827C7E9}"/>
              </a:ext>
            </a:extLst>
          </p:cNvPr>
          <p:cNvSpPr/>
          <p:nvPr userDrawn="1"/>
        </p:nvSpPr>
        <p:spPr>
          <a:xfrm>
            <a:off x="2549405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3F445B-C585-5F8B-5131-383D17479981}"/>
              </a:ext>
            </a:extLst>
          </p:cNvPr>
          <p:cNvSpPr/>
          <p:nvPr userDrawn="1"/>
        </p:nvSpPr>
        <p:spPr>
          <a:xfrm>
            <a:off x="163246" y="5198155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47B064-2421-3F91-11F5-ADCDE2E8A06A}"/>
              </a:ext>
            </a:extLst>
          </p:cNvPr>
          <p:cNvSpPr/>
          <p:nvPr userDrawn="1"/>
        </p:nvSpPr>
        <p:spPr>
          <a:xfrm>
            <a:off x="7321723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C749D67-E865-0118-92F8-394BA516296E}"/>
              </a:ext>
            </a:extLst>
          </p:cNvPr>
          <p:cNvSpPr/>
          <p:nvPr userDrawn="1"/>
        </p:nvSpPr>
        <p:spPr>
          <a:xfrm>
            <a:off x="9707880" y="5198155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A657A2-D1C5-5235-A5E3-FB3CA461ABCF}"/>
              </a:ext>
            </a:extLst>
          </p:cNvPr>
          <p:cNvSpPr/>
          <p:nvPr userDrawn="1"/>
        </p:nvSpPr>
        <p:spPr>
          <a:xfrm>
            <a:off x="4935564" y="2089572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496981B-0110-DA46-EA72-F826292BFC88}"/>
              </a:ext>
            </a:extLst>
          </p:cNvPr>
          <p:cNvSpPr/>
          <p:nvPr userDrawn="1"/>
        </p:nvSpPr>
        <p:spPr>
          <a:xfrm>
            <a:off x="2549405" y="2086416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FEC015D-30E2-21C1-B0FB-9346AF4C66B3}"/>
              </a:ext>
            </a:extLst>
          </p:cNvPr>
          <p:cNvSpPr/>
          <p:nvPr userDrawn="1"/>
        </p:nvSpPr>
        <p:spPr>
          <a:xfrm>
            <a:off x="163246" y="2086416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1CB308-389C-12E2-8AF0-09BDAB8E7050}"/>
              </a:ext>
            </a:extLst>
          </p:cNvPr>
          <p:cNvSpPr/>
          <p:nvPr userDrawn="1"/>
        </p:nvSpPr>
        <p:spPr>
          <a:xfrm>
            <a:off x="7321723" y="2086416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659D123-AF14-8C0D-7DDF-1E9D3AE198B4}"/>
              </a:ext>
            </a:extLst>
          </p:cNvPr>
          <p:cNvSpPr/>
          <p:nvPr userDrawn="1"/>
        </p:nvSpPr>
        <p:spPr>
          <a:xfrm>
            <a:off x="9707880" y="2086416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Graphic 89">
            <a:extLst>
              <a:ext uri="{FF2B5EF4-FFF2-40B4-BE49-F238E27FC236}">
                <a16:creationId xmlns:a16="http://schemas.microsoft.com/office/drawing/2014/main" id="{C94E2FE7-20BA-7B20-080B-50581735C208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4935564" y="5196055"/>
            <a:ext cx="1432938" cy="1508760"/>
          </a:xfrm>
          <a:custGeom>
            <a:avLst/>
            <a:gdLst>
              <a:gd name="connsiteX0" fmla="*/ 0 w 1432938"/>
              <a:gd name="connsiteY0" fmla="*/ 0 h 1432938"/>
              <a:gd name="connsiteX1" fmla="*/ 1432939 w 1432938"/>
              <a:gd name="connsiteY1" fmla="*/ 1432939 h 1432938"/>
              <a:gd name="connsiteX2" fmla="*/ 1432939 w 1432938"/>
              <a:gd name="connsiteY2" fmla="*/ 1432939 h 1432938"/>
              <a:gd name="connsiteX3" fmla="*/ 0 w 1432938"/>
              <a:gd name="connsiteY3" fmla="*/ 0 h 143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2938" h="1432938">
                <a:moveTo>
                  <a:pt x="0" y="0"/>
                </a:moveTo>
                <a:cubicBezTo>
                  <a:pt x="0" y="791400"/>
                  <a:pt x="641539" y="1432939"/>
                  <a:pt x="1432939" y="1432939"/>
                </a:cubicBezTo>
                <a:lnTo>
                  <a:pt x="1432939" y="1432939"/>
                </a:lnTo>
                <a:cubicBezTo>
                  <a:pt x="1432939" y="641539"/>
                  <a:pt x="791400" y="0"/>
                  <a:pt x="0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Graphic 86">
            <a:extLst>
              <a:ext uri="{FF2B5EF4-FFF2-40B4-BE49-F238E27FC236}">
                <a16:creationId xmlns:a16="http://schemas.microsoft.com/office/drawing/2014/main" id="{FA030C6C-F4F8-B35B-0ED9-1F4BEDA6222A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8145728" y="2086416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C4516B6D-A9C9-6053-6233-25BCE96A7E92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2240746" y="2395076"/>
            <a:ext cx="1508760" cy="891441"/>
          </a:xfrm>
          <a:custGeom>
            <a:avLst/>
            <a:gdLst>
              <a:gd name="connsiteX0" fmla="*/ 0 w 1431896"/>
              <a:gd name="connsiteY0" fmla="*/ 0 h 846026"/>
              <a:gd name="connsiteX1" fmla="*/ 1431897 w 1431896"/>
              <a:gd name="connsiteY1" fmla="*/ 846027 h 846026"/>
              <a:gd name="connsiteX2" fmla="*/ 0 w 1431896"/>
              <a:gd name="connsiteY2" fmla="*/ 846027 h 846026"/>
              <a:gd name="connsiteX3" fmla="*/ 0 w 1431896"/>
              <a:gd name="connsiteY3" fmla="*/ 0 h 846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896" h="846026">
                <a:moveTo>
                  <a:pt x="0" y="0"/>
                </a:moveTo>
                <a:lnTo>
                  <a:pt x="1431897" y="846027"/>
                </a:lnTo>
                <a:lnTo>
                  <a:pt x="0" y="84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8CA20B7-0BBB-CAC1-10F8-795B6A8185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76" t="42746" r="1938" b="13215"/>
          <a:stretch/>
        </p:blipFill>
        <p:spPr>
          <a:xfrm>
            <a:off x="2549403" y="3639130"/>
            <a:ext cx="4717881" cy="1509816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0DCBCB15-8577-2CE5-8D8F-20ADC7E98D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10072" y="4516547"/>
            <a:ext cx="180660" cy="18066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F5F86C3-A6F7-B8A8-E4C3-485D541008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4444" y="4332340"/>
            <a:ext cx="123393" cy="123393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CAA21F83-EBBF-2B10-5277-FC6068ABBB09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4772418" y="4523567"/>
            <a:ext cx="228197" cy="242392"/>
            <a:chOff x="7003429" y="4752763"/>
            <a:chExt cx="171448" cy="182113"/>
          </a:xfrm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2B5841A9-BA6D-FD14-12E3-14B99FC22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3E9121A4-B19F-18FD-DC06-28276F362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CB2E0E24-3268-5E9A-23DD-B02FB30F67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7403" r="19114" b="14089"/>
          <a:stretch/>
        </p:blipFill>
        <p:spPr>
          <a:xfrm>
            <a:off x="7321723" y="5196054"/>
            <a:ext cx="2331721" cy="1508761"/>
          </a:xfrm>
          <a:prstGeom prst="rect">
            <a:avLst/>
          </a:prstGeom>
        </p:spPr>
      </p:pic>
      <p:sp>
        <p:nvSpPr>
          <p:cNvPr id="38" name="Graphic 19">
            <a:extLst>
              <a:ext uri="{FF2B5EF4-FFF2-40B4-BE49-F238E27FC236}">
                <a16:creationId xmlns:a16="http://schemas.microsoft.com/office/drawing/2014/main" id="{87B053AB-DC14-3C7D-4C1B-308F275A43A7}"/>
              </a:ext>
            </a:extLst>
          </p:cNvPr>
          <p:cNvSpPr>
            <a:spLocks noChangeAspect="1"/>
          </p:cNvSpPr>
          <p:nvPr userDrawn="1"/>
        </p:nvSpPr>
        <p:spPr>
          <a:xfrm>
            <a:off x="3371309" y="5198155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0" name="Graphic 19">
            <a:extLst>
              <a:ext uri="{FF2B5EF4-FFF2-40B4-BE49-F238E27FC236}">
                <a16:creationId xmlns:a16="http://schemas.microsoft.com/office/drawing/2014/main" id="{E47507C4-0B03-5875-0758-C7CB1B68D3B1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10529784" y="5194999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tx2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1" name="Graphic 89">
            <a:extLst>
              <a:ext uri="{FF2B5EF4-FFF2-40B4-BE49-F238E27FC236}">
                <a16:creationId xmlns:a16="http://schemas.microsoft.com/office/drawing/2014/main" id="{689B6A08-FDFA-1FB6-A827-3A355A834D15}"/>
              </a:ext>
            </a:extLst>
          </p:cNvPr>
          <p:cNvSpPr>
            <a:spLocks noChangeAspect="1"/>
          </p:cNvSpPr>
          <p:nvPr userDrawn="1"/>
        </p:nvSpPr>
        <p:spPr>
          <a:xfrm>
            <a:off x="10606662" y="3640185"/>
            <a:ext cx="1432938" cy="1508760"/>
          </a:xfrm>
          <a:custGeom>
            <a:avLst/>
            <a:gdLst>
              <a:gd name="connsiteX0" fmla="*/ 0 w 1432938"/>
              <a:gd name="connsiteY0" fmla="*/ 0 h 1432938"/>
              <a:gd name="connsiteX1" fmla="*/ 1432939 w 1432938"/>
              <a:gd name="connsiteY1" fmla="*/ 1432939 h 1432938"/>
              <a:gd name="connsiteX2" fmla="*/ 1432939 w 1432938"/>
              <a:gd name="connsiteY2" fmla="*/ 1432939 h 1432938"/>
              <a:gd name="connsiteX3" fmla="*/ 0 w 1432938"/>
              <a:gd name="connsiteY3" fmla="*/ 0 h 143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2938" h="1432938">
                <a:moveTo>
                  <a:pt x="0" y="0"/>
                </a:moveTo>
                <a:cubicBezTo>
                  <a:pt x="0" y="791400"/>
                  <a:pt x="641539" y="1432939"/>
                  <a:pt x="1432939" y="1432939"/>
                </a:cubicBezTo>
                <a:lnTo>
                  <a:pt x="1432939" y="1432939"/>
                </a:lnTo>
                <a:cubicBezTo>
                  <a:pt x="1432939" y="641539"/>
                  <a:pt x="791400" y="0"/>
                  <a:pt x="0" y="0"/>
                </a:cubicBezTo>
                <a:close/>
              </a:path>
            </a:pathLst>
          </a:custGeom>
          <a:solidFill>
            <a:schemeClr val="tx2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2" name="Picture 41" descr="A group of people sitting on a couch eating snacks&#10;&#10;Description automatically generated">
            <a:extLst>
              <a:ext uri="{FF2B5EF4-FFF2-40B4-BE49-F238E27FC236}">
                <a16:creationId xmlns:a16="http://schemas.microsoft.com/office/drawing/2014/main" id="{E0A3622F-7EA4-8E7D-B3D0-C36EE4185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30" t="20084" r="9782" b="17576"/>
          <a:stretch/>
        </p:blipFill>
        <p:spPr>
          <a:xfrm>
            <a:off x="9707880" y="2083331"/>
            <a:ext cx="2331720" cy="150974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CF28096-5315-5A8D-A6D0-E4D63ACD8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32" b="1432"/>
          <a:stretch/>
        </p:blipFill>
        <p:spPr>
          <a:xfrm>
            <a:off x="163246" y="5196055"/>
            <a:ext cx="2329621" cy="150876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FE18ED26-5CB1-E06F-888C-12A76E251DE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85946" y="5502166"/>
            <a:ext cx="217381" cy="250823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3A2ED3C3-224B-5B17-4CBD-CC02EC295EE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839677" y="2943255"/>
            <a:ext cx="107650" cy="132614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BB6E23F5-71F0-9FA5-17D6-AA0DA969210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370508" y="3191016"/>
            <a:ext cx="163814" cy="191897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15ECD918-63DF-EEC8-E3EE-CD69C5E971E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802482" y="5494368"/>
            <a:ext cx="209779" cy="322269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12006814-BC45-F518-91C8-212DA007203A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7647396" y="6239836"/>
            <a:ext cx="251017" cy="266631"/>
            <a:chOff x="7003429" y="4752763"/>
            <a:chExt cx="171448" cy="182113"/>
          </a:xfrm>
        </p:grpSpPr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2F8F64C8-443F-CA06-FF57-A20371203B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DFB8F7C6-0EF9-938D-A9B8-C7AB7DD8A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sp>
        <p:nvSpPr>
          <p:cNvPr id="53" name="Graphic 19">
            <a:extLst>
              <a:ext uri="{FF2B5EF4-FFF2-40B4-BE49-F238E27FC236}">
                <a16:creationId xmlns:a16="http://schemas.microsoft.com/office/drawing/2014/main" id="{40E85101-A793-D99D-69A0-0C6065EB3228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163247" y="3639129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6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Graphic 86">
            <a:extLst>
              <a:ext uri="{FF2B5EF4-FFF2-40B4-BE49-F238E27FC236}">
                <a16:creationId xmlns:a16="http://schemas.microsoft.com/office/drawing/2014/main" id="{EB44B7AE-CCEB-B266-754C-28976FD82CEF}"/>
              </a:ext>
            </a:extLst>
          </p:cNvPr>
          <p:cNvSpPr>
            <a:spLocks noChangeAspect="1"/>
          </p:cNvSpPr>
          <p:nvPr userDrawn="1"/>
        </p:nvSpPr>
        <p:spPr>
          <a:xfrm rot="16200000" flipH="1">
            <a:off x="987251" y="2086416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6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743314B-153B-F6C2-F576-49995A6EC6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" t="56" r="56" b="56"/>
          <a:stretch/>
        </p:blipFill>
        <p:spPr>
          <a:xfrm>
            <a:off x="9337160" y="4830150"/>
            <a:ext cx="687003" cy="687003"/>
          </a:xfrm>
          <a:prstGeom prst="ellipse">
            <a:avLst/>
          </a:prstGeom>
          <a:ln w="63500">
            <a:noFill/>
          </a:ln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7BB8CB2D-AA2F-5EA0-0EB3-727FFFEDAB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1002" y="3274179"/>
            <a:ext cx="687003" cy="687003"/>
          </a:xfrm>
          <a:prstGeom prst="ellipse">
            <a:avLst/>
          </a:prstGeom>
          <a:ln w="63500">
            <a:noFill/>
          </a:ln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E2275CB-A923-B742-8A4F-1B5767A6C3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" b="112"/>
          <a:stretch/>
        </p:blipFill>
        <p:spPr>
          <a:xfrm>
            <a:off x="2178684" y="4830150"/>
            <a:ext cx="687003" cy="687003"/>
          </a:xfrm>
          <a:prstGeom prst="ellipse">
            <a:avLst/>
          </a:prstGeom>
          <a:ln w="63500">
            <a:noFill/>
          </a:ln>
        </p:spPr>
      </p:pic>
      <p:sp>
        <p:nvSpPr>
          <p:cNvPr id="60" name="Graphic 86">
            <a:extLst>
              <a:ext uri="{FF2B5EF4-FFF2-40B4-BE49-F238E27FC236}">
                <a16:creationId xmlns:a16="http://schemas.microsoft.com/office/drawing/2014/main" id="{0E9E40E4-E8D0-7C45-7797-2DA6A307AD19}"/>
              </a:ext>
            </a:extLst>
          </p:cNvPr>
          <p:cNvSpPr>
            <a:spLocks noChangeAspect="1"/>
          </p:cNvSpPr>
          <p:nvPr userDrawn="1"/>
        </p:nvSpPr>
        <p:spPr>
          <a:xfrm rot="10800000" flipV="1">
            <a:off x="7321723" y="3641230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2" name="Graphic 19">
            <a:extLst>
              <a:ext uri="{FF2B5EF4-FFF2-40B4-BE49-F238E27FC236}">
                <a16:creationId xmlns:a16="http://schemas.microsoft.com/office/drawing/2014/main" id="{E71CA5C5-06C3-C986-D64E-E3E631F762A3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4935564" y="2086416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64" name="Graphic 63">
            <a:extLst>
              <a:ext uri="{FF2B5EF4-FFF2-40B4-BE49-F238E27FC236}">
                <a16:creationId xmlns:a16="http://schemas.microsoft.com/office/drawing/2014/main" id="{7ADD4046-1258-EC52-C831-658477B359C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311315">
            <a:off x="897153" y="6077821"/>
            <a:ext cx="180195" cy="211087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22BAFBEF-CB10-0DA9-3FE1-7DF38E11D7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304573" y="5433688"/>
            <a:ext cx="85249" cy="91641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ABDF2F9F-203E-DD97-E511-1E9C88B7200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9463">
            <a:off x="9092736" y="6029966"/>
            <a:ext cx="218037" cy="255416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2773D52D-6077-A56A-F731-77D17AE88D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822742" y="6198240"/>
            <a:ext cx="113466" cy="121975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B5BBA0CA-CBDD-FBA9-4444-B5B72DAAF3E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28804" y="3986569"/>
            <a:ext cx="173372" cy="213576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EE0BC6C4-802F-E72F-7E2E-3C90909FF13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82285" y="2818725"/>
            <a:ext cx="207452" cy="220356"/>
            <a:chOff x="7003429" y="4752763"/>
            <a:chExt cx="171448" cy="182113"/>
          </a:xfrm>
        </p:grpSpPr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E51B922E-2BC0-E1F3-0C0D-79DA05D4B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8F9C6A2C-D980-3458-6A9E-1FCA7C182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pic>
        <p:nvPicPr>
          <p:cNvPr id="72" name="Graphic 71">
            <a:extLst>
              <a:ext uri="{FF2B5EF4-FFF2-40B4-BE49-F238E27FC236}">
                <a16:creationId xmlns:a16="http://schemas.microsoft.com/office/drawing/2014/main" id="{71C1E63E-8908-2723-F40E-F6E6318BD7D6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214433" y="2273145"/>
            <a:ext cx="107650" cy="165375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023A26A2-9D1A-8F2B-3301-A4763D7619D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534322" y="2526389"/>
            <a:ext cx="148475" cy="1713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1367295-654E-22C7-D3DE-575E6151ADF2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7E56B8-86FE-FCFF-93B7-648EC04C2078}"/>
              </a:ext>
            </a:extLst>
          </p:cNvPr>
          <p:cNvSpPr txBox="1"/>
          <p:nvPr userDrawn="1"/>
        </p:nvSpPr>
        <p:spPr>
          <a:xfrm>
            <a:off x="8381681" y="6684501"/>
            <a:ext cx="3786872" cy="1923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IN" sz="650">
                <a:latin typeface="Fibra One SemiBold"/>
              </a:rPr>
              <a:t>See </a:t>
            </a:r>
            <a:r>
              <a:rPr lang="en-IN" sz="650">
                <a:solidFill>
                  <a:srgbClr val="0056C2"/>
                </a:solidFill>
                <a:latin typeface="Fibra One SemiBold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lculation methodology</a:t>
            </a:r>
            <a:r>
              <a:rPr lang="en-IN" sz="650">
                <a:solidFill>
                  <a:schemeClr val="accent1"/>
                </a:solidFill>
                <a:latin typeface="Fibra One SemiBold"/>
              </a:rPr>
              <a:t> </a:t>
            </a:r>
            <a:r>
              <a:rPr lang="en-IN" sz="650">
                <a:latin typeface="Fibra One SemiBold"/>
              </a:rPr>
              <a:t>on ESG Topics A-Z for additional detail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4972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256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47">
            <a:extLst>
              <a:ext uri="{FF2B5EF4-FFF2-40B4-BE49-F238E27FC236}">
                <a16:creationId xmlns:a16="http://schemas.microsoft.com/office/drawing/2014/main" id="{9A07EEF4-CC9B-1ACB-AF25-E6CA86D334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100" spc="-30" dirty="0" smtClean="0">
                <a:solidFill>
                  <a:schemeClr val="tx1"/>
                </a:solidFill>
                <a:latin typeface="Fibra One" pitchFamily="2" charset="77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687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dentifi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994046"/>
            <a:ext cx="5905500" cy="3046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B59AB5-BB65-61A4-73D4-C63857EC3A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713874"/>
            <a:ext cx="5588000" cy="193899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spc="0" baseline="0" dirty="0">
                <a:solidFill>
                  <a:srgbClr val="0052DB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identifier</a:t>
            </a:r>
          </a:p>
        </p:txBody>
      </p:sp>
    </p:spTree>
    <p:extLst>
      <p:ext uri="{BB962C8B-B14F-4D97-AF65-F5344CB8AC3E}">
        <p14:creationId xmlns:p14="http://schemas.microsoft.com/office/powerpoint/2010/main" val="403947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A09563F-A17E-86B9-B6DE-B63FC0470B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967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09563F-A17E-86B9-B6DE-B63FC0470B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 descr="A person standing next to a refrigerator&#10;&#10;Description automatically generated with medium confidence">
            <a:extLst>
              <a:ext uri="{FF2B5EF4-FFF2-40B4-BE49-F238E27FC236}">
                <a16:creationId xmlns:a16="http://schemas.microsoft.com/office/drawing/2014/main" id="{646B3363-2589-6D20-01EA-720CE2264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4"/>
          <a:stretch/>
        </p:blipFill>
        <p:spPr>
          <a:xfrm>
            <a:off x="0" y="-3225"/>
            <a:ext cx="6464459" cy="68552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41257D2-16E8-0A4B-5A97-A365EBC5CB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20508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659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3971FC-313D-4CF3-273F-8DA92A140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F4397A-8710-2F7E-2152-79CE88954BC2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39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DC9058-100E-D0B5-56FF-17B8168C4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6592824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D347BBC-307D-4475-1C1C-EE983EB31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100" spc="-30" dirty="0" smtClean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9" name="object 17">
            <a:extLst>
              <a:ext uri="{FF2B5EF4-FFF2-40B4-BE49-F238E27FC236}">
                <a16:creationId xmlns:a16="http://schemas.microsoft.com/office/drawing/2014/main" id="{98B7A3BF-D2AE-CFBD-5C24-E9078C7A5F01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92E5EB-BA1B-A5E9-130E-87797C4C6CD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dentifier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80D6156-9F36-B44E-70EE-2AD30070F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994046"/>
            <a:ext cx="5905500" cy="3046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F954B44-B6E1-D42B-7941-361A13582F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713874"/>
            <a:ext cx="5588000" cy="193899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spc="0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identifier</a:t>
            </a: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B6A72899-5654-7BA5-B334-01C74DC6622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2410A2-895F-CB75-A7FB-04AE6649790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14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096598-C955-469E-08CD-4A4FAEE43877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62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solidFill>
          <a:srgbClr val="0064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CB604509-7D21-F474-ABC5-826743040A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74477" y="4971854"/>
            <a:ext cx="417504" cy="475757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2D39971-7971-EB54-2094-4A04D91F0F68}"/>
              </a:ext>
            </a:extLst>
          </p:cNvPr>
          <p:cNvSpPr/>
          <p:nvPr/>
        </p:nvSpPr>
        <p:spPr>
          <a:xfrm>
            <a:off x="6077712" y="2282825"/>
            <a:ext cx="4814284" cy="2984515"/>
          </a:xfrm>
          <a:prstGeom prst="roundRect">
            <a:avLst>
              <a:gd name="adj" fmla="val 6306"/>
            </a:avLst>
          </a:prstGeom>
          <a:solidFill>
            <a:srgbClr val="0056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bra One"/>
              <a:ea typeface="+mn-ea"/>
              <a:cs typeface="+mn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AA53D5B-E441-FAB7-9C45-481EFA9053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97981" y="372021"/>
            <a:ext cx="1106669" cy="265600"/>
          </a:xfrm>
          <a:prstGeom prst="rect">
            <a:avLst/>
          </a:prstGeom>
        </p:spPr>
      </p:pic>
      <p:pic>
        <p:nvPicPr>
          <p:cNvPr id="10" name="Picture 9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3458D4EA-2C83-6523-C7DA-0B2D4C0F1E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flipH="1" flipV="1">
            <a:off x="0" y="0"/>
            <a:ext cx="6868328" cy="6858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7830847-1787-F054-DD15-9633233632E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93301" y="4559301"/>
            <a:ext cx="2298699" cy="229869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778B07D6-F839-1EE7-96D4-F578A67E43C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18194" y="1905494"/>
            <a:ext cx="754662" cy="754662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4C4D89D-F35B-4954-52FD-5BA5634560C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712657" y="2106798"/>
            <a:ext cx="352055" cy="35205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9AD065D-7114-A33B-CD02-771DB2C4342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68266" y="5704713"/>
            <a:ext cx="240459" cy="2404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A32A8CB-F782-7F89-4D13-AEEB137740D2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38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754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E75D665-624C-3BFB-47F4-984EBDE50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31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5D665-624C-3BFB-47F4-984EBDE50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2872C2F7-2E0B-2568-710B-F422833C66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0225" y="1837765"/>
            <a:ext cx="8263054" cy="412420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 vert="horz">
            <a:normAutofit/>
          </a:bodyPr>
          <a:lstStyle>
            <a:lvl1pPr>
              <a:defRPr sz="32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3D97AA-F8B3-3937-7D9B-5F13FDFCDD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982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DAD6DBC-BFE0-BCC8-DFC4-8C5D8B328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2540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DE728C-96E2-A7A1-8BC6-3F69AFE14E8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1267A27C-146F-8C91-CD73-B69A467DB0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4981" y="563412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5AF00B9-FFA4-D85B-3971-CCAAA9D217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389" y="5589588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A2F664-F7E5-5547-D5AC-4DC1D5585F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14980" y="377590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B6E29FB-4FED-B157-EAC6-A97DEB9C5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2540" y="374568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0A88DE55-A757-6B98-FCAA-D8BB3FABCD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69410" y="1942678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359A4D9-BBE3-D14D-C22E-AC7C12D32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9410" y="56046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3C9E2FC-70D2-AF32-7539-F58AAED25F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9410" y="37237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2936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58AD371-8B7C-D63D-D4F0-D6036911F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56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8AD371-8B7C-D63D-D4F0-D6036911F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B6AE7-43CD-C976-2A32-5EBD06ABFC3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34000" y="-1390"/>
            <a:ext cx="6858000" cy="6858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7053145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7053145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6DD3A1EA-4EF1-8B38-6EB6-CA2F41A071F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7578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691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A89992A-4A24-42BE-436D-09273CE61B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050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89992A-4A24-42BE-436D-09273CE61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BC28396-9FBD-0DEE-F8F8-FFE0B2718C1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120AF7-7A13-B64B-A6A7-D59437507B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7151" y="3277752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49832-EB6B-4540-BD2F-BE66885F7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7151" y="5284915"/>
            <a:ext cx="5011699" cy="734982"/>
          </a:xfrm>
          <a:noFill/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B9942F-8782-9217-0CDF-F953ADDDD2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07151" y="4262094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B3E34A-8F9C-5E86-5256-FC7240DB681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-1390"/>
            <a:ext cx="5292946" cy="52863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766D94-4B68-6652-94F9-D21C447069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165350" y="4549214"/>
            <a:ext cx="895724" cy="8957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D9C52F-29B3-465A-2EB7-01668D9BBE9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96031F5-52E2-13E6-DC35-CE8E02A04CE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64EF2F-7762-0CE6-C043-30E89012A49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F89739-37E7-E219-23A3-1EA849A22F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1BE03A-CA96-B873-5324-67F62D03762F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602706-645D-5DDD-7EB8-838BAD9ABD8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71359C-CB4F-183F-E5EA-DF631FB5B23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1C065A-D856-E961-9DBA-49E1715470F2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E6CF1B-7DEC-883B-A325-5B95ABA6D3D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08688E-F719-233C-5094-C97B2757AF7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4EF986-AA7F-F2B3-E160-6F48CF355CE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D1C87564-8A4E-3129-B9E9-C9CD439C1BF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6222" y="10620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163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7E32C66-893C-493F-4ACB-AD530BDA4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993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E32C66-893C-493F-4ACB-AD530BDA4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0107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A67C8376-B29A-032C-DB76-8631F049A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083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7C8376-B29A-032C-DB76-8631F049A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42AB644-762A-78B9-54D9-8D08DF1AC1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8D4B37A5-2FF3-D03C-A1E3-5C3067263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3" y="168381"/>
            <a:ext cx="10951910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85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55ED6C-27C8-0BE6-66C4-C99617BA866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21651B-17C8-D249-2390-5566494A420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11648" y="0"/>
            <a:ext cx="1202971" cy="984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37415C-21A1-327B-15B5-C129D59365D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B001CD-89C1-F7AE-63E6-F2E4495AB5F6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4E7C63-8BEE-9577-3A62-8EC4D68DD44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F563C-14BE-8725-3744-228100E3EF1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190F70-2A5F-3DBA-9D7A-6EE3873339A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C8A78E-26BB-16EA-EC53-9065D761581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95E006-0601-F8D7-3C49-3C7EF4C062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DBFEF5-7DDD-931D-17BD-F1EB2E4FE48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DA30DD-51D9-0D16-A652-01DC1EDADF5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DA8BC8-2657-8EF4-48C9-E72798F2C9E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DFD998-762C-EE05-A0B7-53157A3E2C8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6B16B-C169-4E72-F23E-30A3D09BC2A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66887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E81066A1-120F-4338-B0E8-5EF5CC7EF3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710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066A1-120F-4338-B0E8-5EF5CC7EF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2D53B6A-0A2A-A63E-50F4-3BE989659A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8240EB8-E9EE-E202-7433-DC33E88D5E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 flipH="1">
            <a:off x="9940574" y="-19878"/>
            <a:ext cx="2261365" cy="14494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B72C6A-1C29-9545-4ACF-5CF2293C6C5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0597A6-EF46-2E6A-1CB2-C8BE772CFDF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87C6C2-D16A-4418-C4E6-F0A60D5BEB7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592EF-2EA8-FBAB-74D0-B35A1AD98D48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BE338-5481-6AFF-BA76-7DF921C61BD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F49FC-5AD6-CE5B-61C8-22D91120717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1800F1-C533-6F99-5272-67E29B41165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5A6764-CC8C-3E72-C492-75D3621338F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51F83-5EF0-B406-2EBB-F5120862546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8B5A09-E0D4-42C1-70DD-C5C8BE6582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B1E00B-1DCD-F462-B861-9BBBFD27F24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468405-E35A-3081-23AA-A470E0F483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735495"/>
            <a:ext cx="10952147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099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1E70694-5143-996D-C0EA-629B53563B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819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E70694-5143-996D-C0EA-629B53563B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731B6055-753F-B35A-F46A-50D548BD425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8CA8E3-8E10-31C8-E30A-7034E2AEBA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14876" cy="4513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47F414-5F05-B515-6F7E-82386ABDF7C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700" y="4560782"/>
            <a:ext cx="2282300" cy="231425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855BE84-80B4-B287-0343-996ACA21E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7017" y="3684482"/>
            <a:ext cx="8674442" cy="608864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660172-DB72-31A3-0D6C-322C56FFDF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7017" y="4475046"/>
            <a:ext cx="8674442" cy="608864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1A6BFE-D9CB-E904-15BB-81F9E486EF9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D46EAB5-B1CA-C4F4-1686-52A1616696B5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2277D3-97E2-B7F7-CFD8-32FD89222BC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3E162B-CBA8-CB55-F442-0CB77D72408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978BA-FCF9-D00F-B941-71EDC792CCD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BABC82-73C7-B527-726C-788CFB4C74AF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626234-325E-0353-F1C1-E3EC675923F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D02AF-CD28-6C28-32A9-6F832CA8C9C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3CBC14-60EB-A4C8-622E-0FA75A726D0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D17D68-EBF1-4E84-04F2-30EB4894F4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5EF35E-C934-F5D5-D4EC-48FBDAC0DD4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399CC9E1-034D-8912-23E2-1BDC58FF7B9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6222" y="10620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11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1A9E24B-DE7D-DCB4-79D8-14ABB502D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1845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9E24B-DE7D-DCB4-79D8-14ABB502D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0E294F4-59D8-22AF-A935-EED997D8EDC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59A700-3A2B-F840-339B-5A4EFC24EFA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6200000">
            <a:off x="10124325" y="-18535"/>
            <a:ext cx="2035962" cy="20993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BB1214-EAA9-160D-C9CA-5B2611FBE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3CC20C-FB3E-7FAE-E265-957CBD7B046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0B73B3-945A-C41F-D753-21E1E64F19A1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682366-F3D6-E75D-7601-4EE50B3949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88BFE8-C95B-6DBC-1BFB-4F7A3FA5712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745BA5-7D92-2CFE-67BD-72F8CF25E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DBB934-58B7-A22A-CF85-648D5F2CFD5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ED8663-2765-3550-97E7-F2308B59A29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1E37FC-D396-C377-63A7-7848EDB9805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5ECEF-2D90-95ED-043A-8FF8AA3C30E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E37E5-8ED1-0746-90D2-0FD9DAFB53C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566DF6-38C2-83FB-5B6E-B84330934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3FF341-27CB-7B69-AB79-6AEE6F5EF48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04873" y="715868"/>
            <a:ext cx="10977895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66806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B750194D-9C85-50C6-B299-BC6475179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070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50194D-9C85-50C6-B299-BC6475179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CE644B59-6021-A14B-DD53-20AB5F57E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8"/>
          <a:stretch/>
        </p:blipFill>
        <p:spPr>
          <a:xfrm>
            <a:off x="0" y="6684"/>
            <a:ext cx="6096000" cy="6844632"/>
          </a:xfrm>
          <a:prstGeom prst="rect">
            <a:avLst/>
          </a:prstGeom>
        </p:spPr>
      </p:pic>
      <p:pic>
        <p:nvPicPr>
          <p:cNvPr id="2" name="Picture Placeholder 7" descr="Water droplets on a surface&#10;&#10;Description automatically generated with medium confidence">
            <a:extLst>
              <a:ext uri="{FF2B5EF4-FFF2-40B4-BE49-F238E27FC236}">
                <a16:creationId xmlns:a16="http://schemas.microsoft.com/office/drawing/2014/main" id="{3CBB4E9F-B4FB-5C6F-BA96-96E70DEEB6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D869B9-EB64-AE45-11E8-CC034A771C87}"/>
              </a:ext>
            </a:extLst>
          </p:cNvPr>
          <p:cNvSpPr txBox="1"/>
          <p:nvPr userDrawn="1"/>
        </p:nvSpPr>
        <p:spPr>
          <a:xfrm>
            <a:off x="4512623" y="73270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854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8ADEF8C3-8726-7D3E-9ED7-43757EA5AF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person holding a pen over a paper&#10;&#10;Description automatically generated">
            <a:extLst>
              <a:ext uri="{FF2B5EF4-FFF2-40B4-BE49-F238E27FC236}">
                <a16:creationId xmlns:a16="http://schemas.microsoft.com/office/drawing/2014/main" id="{152DC4C8-097A-A1AC-98D8-9802ACEA0118}"/>
              </a:ext>
            </a:extLst>
          </p:cNvPr>
          <p:cNvPicPr>
            <a:picLocks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56" r="5556"/>
          <a:stretch/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D869B9-EB64-AE45-11E8-CC034A771C87}"/>
              </a:ext>
            </a:extLst>
          </p:cNvPr>
          <p:cNvSpPr txBox="1"/>
          <p:nvPr userDrawn="1"/>
        </p:nvSpPr>
        <p:spPr>
          <a:xfrm>
            <a:off x="4512623" y="73270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694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95B1108-ED4D-5D2F-2688-1C5410EDFC51}"/>
              </a:ext>
            </a:extLst>
          </p:cNvPr>
          <p:cNvPicPr>
            <a:picLocks/>
          </p:cNvPicPr>
          <p:nvPr userDrawn="1"/>
        </p:nvPicPr>
        <p:blipFill rotWithShape="1">
          <a:blip r:embed="rId6"/>
          <a:srcRect t="11816" b="11816"/>
          <a:stretch/>
        </p:blipFill>
        <p:spPr>
          <a:xfrm>
            <a:off x="3312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5973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AAA551-631E-AF0A-3A99-69D43E8CE295}"/>
              </a:ext>
            </a:extLst>
          </p:cNvPr>
          <p:cNvPicPr>
            <a:picLocks/>
          </p:cNvPicPr>
          <p:nvPr userDrawn="1"/>
        </p:nvPicPr>
        <p:blipFill rotWithShape="1">
          <a:blip r:embed="rId6"/>
          <a:srcRect t="26900" b="10100"/>
          <a:stretch/>
        </p:blipFill>
        <p:spPr>
          <a:xfrm>
            <a:off x="3312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846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BE9EB41-80C2-981F-C5B9-6D6C3BAE1C0B}"/>
              </a:ext>
            </a:extLst>
          </p:cNvPr>
          <p:cNvPicPr>
            <a:picLocks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62" r="12462"/>
          <a:stretch/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193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2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2EF9D3-1D65-0DCC-37EF-B48E86DA2A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480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2EF9D3-1D65-0DCC-37EF-B48E86DA2A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Placeholder 18" descr="A picture containing blue, plastic, vegetable&#10;&#10;Description automatically generated">
            <a:extLst>
              <a:ext uri="{FF2B5EF4-FFF2-40B4-BE49-F238E27FC236}">
                <a16:creationId xmlns:a16="http://schemas.microsoft.com/office/drawing/2014/main" id="{73438312-45D9-75E2-9176-1F696DB195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13" name="Title 7">
            <a:extLst>
              <a:ext uri="{FF2B5EF4-FFF2-40B4-BE49-F238E27FC236}">
                <a16:creationId xmlns:a16="http://schemas.microsoft.com/office/drawing/2014/main" id="{B25241A1-97E3-3206-1B3E-8025F28AF2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2644" y="975438"/>
            <a:ext cx="5527649" cy="95974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EA4697B-B83D-1680-0152-465D89D0AF3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2645" y="1997133"/>
            <a:ext cx="5527648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5AC75EF0-09B5-E87F-C824-9ED2E56EC4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2645" y="4402936"/>
            <a:ext cx="5527646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5B7329-4B82-99CE-EDA3-7AAB89496EF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2AD305-5B72-F0AC-8186-6B48C51A6E0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37A9A0-BD0A-D000-5209-7FFD5836D1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BB9ED0-195B-C789-FC52-C414783EF72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65D2F3-ECCF-E660-3949-4B9A97FF919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663DF2-1221-1E13-55E2-03069963291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852FCC-D6AD-3934-24DE-E0383E09195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DD2C14-E56D-432D-DDDC-D509AE18DC7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052AD9-8CAC-3B85-44E6-BAC021877CB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61BC68-F306-2AF8-8121-4A145B25FD3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C395AB-74BD-B7DF-B69D-B04B1654B0B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F52B0D-E776-D08A-0A30-8B949D9F9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82644" y="2673326"/>
            <a:ext cx="5527646" cy="156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9A47E92-F9E8-52C9-9AFB-51C9588271D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80177" y="5046602"/>
            <a:ext cx="5527646" cy="156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1266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4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D78223-CC91-FAA2-57DE-A810F8FBB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959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78223-CC91-FAA2-57DE-A810F8FBB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336D69-015D-4BB5-BC86-8242628C5C5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1811" y="0"/>
            <a:ext cx="2290189" cy="7722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056823E-6006-1F75-24A2-A51ABC6D50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2538" y="614051"/>
            <a:ext cx="401053" cy="401053"/>
          </a:xfrm>
          <a:prstGeom prst="rect">
            <a:avLst/>
          </a:prstGeom>
        </p:spPr>
      </p:pic>
      <p:pic>
        <p:nvPicPr>
          <p:cNvPr id="19" name="Picture Placeholder 16" descr="A person standing in a field&#10;&#10;Description automatically generated with medium confidence">
            <a:extLst>
              <a:ext uri="{FF2B5EF4-FFF2-40B4-BE49-F238E27FC236}">
                <a16:creationId xmlns:a16="http://schemas.microsoft.com/office/drawing/2014/main" id="{2C991B4A-3ECA-8741-34BA-D2454DD6AB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9508"/>
            <a:ext cx="6096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E47B3C-F251-CCB7-363E-BA7FFC8DDC7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8CD422-4F5B-8389-973A-EF7BBE7E8A7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0CD5B9-A866-0DB0-09B1-F4B500315A9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90D3D8-BE3F-4FFE-EC5C-4EB1BD69A3D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4B41A8-79B4-ECD3-0611-C69D1E250FA7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B490D5-3229-517D-2ECD-68F6ADCBBA0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3F0BD5-8120-61B3-82BD-A589B8281D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F1AEAF-12E1-6A86-590E-43BE99137F3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596ECF-CB1B-4CBD-CA40-A323F673A97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79F450-479E-F491-F86A-A4E7A942A34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5A055B-8A6A-9FD6-191F-8916F3831BB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Title 7">
            <a:extLst>
              <a:ext uri="{FF2B5EF4-FFF2-40B4-BE49-F238E27FC236}">
                <a16:creationId xmlns:a16="http://schemas.microsoft.com/office/drawing/2014/main" id="{A512E1FD-7E6B-E762-11C8-A213453A90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C21744E-D207-E57D-A5E1-1D499D8EA9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721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5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4D9DC2BA-E830-EFB2-18FA-0725D2DB3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29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9DC2BA-E830-EFB2-18FA-0725D2DB3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Placeholder 8" descr="A picture containing corn, person, food&#10;&#10;Description automatically generated">
            <a:extLst>
              <a:ext uri="{FF2B5EF4-FFF2-40B4-BE49-F238E27FC236}">
                <a16:creationId xmlns:a16="http://schemas.microsoft.com/office/drawing/2014/main" id="{05DC7BF9-0284-3EF7-3885-91D2854FB6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6096000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AA53261-7131-FF6B-FFBA-56B570787A35}"/>
              </a:ext>
            </a:extLst>
          </p:cNvPr>
          <p:cNvGrpSpPr/>
          <p:nvPr userDrawn="1"/>
        </p:nvGrpSpPr>
        <p:grpSpPr>
          <a:xfrm>
            <a:off x="9901811" y="0"/>
            <a:ext cx="2290189" cy="1015104"/>
            <a:chOff x="9901811" y="0"/>
            <a:chExt cx="2290189" cy="101510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9336D69-015D-4BB5-BC86-8242628C5C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01811" y="0"/>
              <a:ext cx="2290189" cy="77227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056823E-6006-1F75-24A2-A51ABC6D50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42538" y="614051"/>
              <a:ext cx="401053" cy="401053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FCB6A94C-CD4A-89F0-45CB-DE624B356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0EA1A6-3264-1E39-4647-913E401A443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4DE58C-A78E-4F34-ACAA-41A7160E46C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F67EBC-1039-7D44-E156-6A9E66C9695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29477-DEFD-146C-1018-CC8DE12E17C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06559B-81D2-551B-E4BE-327DD47FB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F9D56F-4963-CA4D-63DD-5C11EAFE0E6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AC3E69-27DE-EA7B-C7B9-F7FDD7F1A1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0DD664-ECDA-DF75-70AE-010CEE51DB2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3B61D6-C860-E099-ABB7-82905D4C1EB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C7256-BB05-30D0-C8C7-EE9AF8C4DF9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1A77411-FF83-F3A0-AE36-BE75310525A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BB8633-AB7D-8ED3-F9F7-19E93AF13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788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287D3FF3-45D6-137D-B79D-60C4FB069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582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7D3FF3-45D6-137D-B79D-60C4FB069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84B00D6-F204-9642-B56C-5BBE902D408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 &amp; PROPRIETAR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99591D5-E53C-F400-D2FE-351007A75B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BF8C198-0614-9383-F6BF-D9CA65D1418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936D29E-0CB8-16C6-2CDB-28F21243B4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748528"/>
            <a:ext cx="6730756" cy="253240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.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3ED9364B-EA77-5ABB-E1E9-8BAB0EC4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823" y="2042669"/>
            <a:ext cx="6730756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31F7D3-74BB-564D-9CC4-6AF30FD485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2890653"/>
            <a:ext cx="6730756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DBC506-D395-E5A5-239C-FD4E7FC788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023579" y="0"/>
            <a:ext cx="517836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E9DD62-2AED-1120-1E80-37B3A0661D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046B9A-BC02-9990-A298-22E4D87398D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722C6D-CDB1-86E1-D240-AE401227EF5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31E2B0-77B2-6162-91FE-187390C47B8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B9BE38-323F-CF3A-99E0-84CEF660F71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47A148-2E3D-1D6E-1BC8-5E7D4FB72CE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CE58FB-40F5-70FA-F9F2-CBF0EE2808D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CA09D7-558B-F952-035F-CAC11390AC81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208DD0-7F81-4D68-6DCA-67D9786985F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D921CBB-3893-E37D-4C8D-2C4CDA1F66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4893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7F4BB68-DDCA-8C3D-660B-49B9CF89D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95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F4BB68-DDCA-8C3D-660B-49B9CF89D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B5C0B13E-0394-87CE-81AC-CF00C5075C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483963" cy="685800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4A681047-6AA1-EC24-0AE4-2062D4899CA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0460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94F20496-C121-8952-FB00-2EC142508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80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F20496-C121-8952-FB00-2EC142508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91B31E91-131E-9F1B-B825-CE238076C0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4884" y="2252671"/>
            <a:ext cx="8992372" cy="2352658"/>
          </a:xfrm>
        </p:spPr>
        <p:txBody>
          <a:bodyPr vert="horz"/>
          <a:lstStyle>
            <a:lvl1pPr algn="ctr">
              <a:defRPr>
                <a:solidFill>
                  <a:srgbClr val="15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Quo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8FABC3-39CB-DBD6-ED10-D07B3D1F62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D43324-D355-15DC-9F7F-F1F9FF32074D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C69D31-673A-F37A-FF74-17FE81C16F24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602CFF-3440-149F-DB19-8C2F04BDA73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8B8054-E451-1E5F-F021-A5E46F8E677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D37D35-D9EB-A0FF-68F6-4589550DF8E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9CCEB0-81E4-63BC-3235-145DD115B35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921DC3-C55E-CA53-3FA4-0275A29FEF4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A54148-C346-8B17-0938-7CE3AD5B3B1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9A4F9E-E773-6516-6B1C-D18FFFD150F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6A98E1-00AE-D04E-6621-D110FC9E2E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003117-0C4E-43A0-FABB-51EC0D04EE0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8060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64723C6-9017-3915-8566-A8B236C308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159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4723C6-9017-3915-8566-A8B236C30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6DC7CEC-5A62-AFF6-732F-20A9B663B60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295935" y="0"/>
            <a:ext cx="6896065" cy="6858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328D0AFF-FC2C-9B9F-627F-DB24FC54AB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4025784"/>
            <a:ext cx="6896064" cy="2099116"/>
          </a:xfrm>
        </p:spPr>
        <p:txBody>
          <a:bodyPr vert="horz">
            <a:noAutofit/>
          </a:bodyPr>
          <a:lstStyle>
            <a:lvl1pPr>
              <a:defRPr sz="4000" b="0">
                <a:solidFill>
                  <a:srgbClr val="15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pirational or reference </a:t>
            </a:r>
            <a:br>
              <a:rPr lang="en-US"/>
            </a:br>
            <a:r>
              <a:rPr lang="en-US"/>
              <a:t>quote should be here highlighting some key words with a different color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71DEEB-FA35-9D45-FAC5-1BB9D425CE9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6E568D-0837-ADE9-A14F-3D440BAFDD8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E187E7-1DCD-C27A-A71B-B55B8944B94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DC4CF9-ADE5-5630-694F-EF8E7E316CB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972F1F-0DA8-02DD-FEA9-6188567715A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21EE73-AA9F-69BB-D67F-644525DA71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2B4EF-51AE-101E-3569-F76D512DB85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13616A-CA4D-9D9D-31BE-CB72CB16A24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60BA59-1037-14E7-9275-C031EA7877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3F475E-01C3-2668-5E98-5F372A5FEA1E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2667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_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531B907-0A91-35FE-9479-3CE0D3A56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7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31B907-0A91-35FE-9479-3CE0D3A56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E835239-ECF4-4328-4803-FFACE5629BE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82FF431-011F-065B-7635-3B0775D7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23117" y="382660"/>
            <a:ext cx="9053536" cy="909493"/>
          </a:xfrm>
        </p:spPr>
        <p:txBody>
          <a:bodyPr vert="horz">
            <a:normAutofit/>
          </a:bodyPr>
          <a:lstStyle>
            <a:lvl1pPr>
              <a:defRPr sz="40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F0BE97-CA99-7B79-D826-93E9F46EBB4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C3A227-3D76-4165-91B3-287D7E99740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28AECE-747E-0B41-291E-F103A0FAB7F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35519D-C4F2-5EDC-3804-6C2D8ECD5657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690A03-A770-6530-1E47-F016AB1E892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A8D01-B7F4-5921-0B94-83CB908874C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53F36E-A990-9FEA-625A-5420B4D93CD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4E1361-ECF1-91E6-50F4-51EE3B8F871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EBE4AF-688B-F414-F99A-2BDDA34483D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1D321D-3D0B-A997-798C-0BDBC34945D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036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356A950-807F-8B3D-14E0-95D6E6E2B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41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6A950-807F-8B3D-14E0-95D6E6E2B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10703FA-F8EC-03DD-1E36-D8E2A8594C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2267"/>
            <a:ext cx="12186837" cy="687413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7E7D121-327E-617A-67C7-C4DFE6B33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737" y="388571"/>
            <a:ext cx="10515600" cy="909493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7C6441-F40A-4E3F-636E-DC9EA33ED3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94926"/>
            <a:ext cx="2324100" cy="1079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FD1AD8-A82A-D201-FA11-3D2BB29DF8E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17F892-BE05-D890-A2F5-16831FAF48A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161CC2-A373-DC17-4C84-1402F2AB6DA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1BECA5-8EA3-A98A-C3B3-64C895C8AE2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4EB9D6-0136-CB5C-F37E-886BBB8158C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CBF3E87-3DA6-E216-9B23-B7422ADD1BC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FCE919-6BBF-B3A9-15EA-B58C789472C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4A32DF-D5C1-A9C3-FA22-CA83869F69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CAB153-DF4A-88E7-9707-FBD92957529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0EA46B-E164-A56C-5A24-D68B12B41C3E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840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14763A3-C70D-460B-3671-94CA1C8815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68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14763A3-C70D-460B-3671-94CA1C8815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5578B07-4D87-C67E-03EC-C2B62BD923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BA7BD91-1229-618F-FEE9-62EAECA716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EF50F8-AEE9-A933-6117-D7B4B4F123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C1269EF-E9CB-D480-DFFE-AD15E3224D0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BC36A3-57BB-3D6F-29E8-C94CB520796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A4A4D2-A39B-335D-008B-8CE77145E50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34A3B1-37E0-E12E-B62D-FDD72569592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9A66ED-CBDE-2ED1-D45C-AF5DE42445D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85DC56-5961-D3BD-A150-BF31D0D0B2F9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58EBE-D6F1-B2FD-7907-11351E2C032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A81C2A-1D81-B16D-B913-994BA59595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0778D7-BBFE-BC0F-598E-CF9997C4E8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57207-F844-85CD-F9E3-4241A0D19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7724A55-6F8E-1B2B-3043-9E24C064AA2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301577"/>
            <a:ext cx="10952147" cy="50179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173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4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19149D3-CA6C-85E9-5E2A-23BA03362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952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19149D3-CA6C-85E9-5E2A-23BA03362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5578B07-4D87-C67E-03EC-C2B62BD923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2" y="168381"/>
            <a:ext cx="10985868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BA7BD91-1229-618F-FEE9-62EAECA716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EF50F8-AEE9-A933-6117-D7B4B4F123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C1269EF-E9CB-D480-DFFE-AD15E3224D0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BC36A3-57BB-3D6F-29E8-C94CB520796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A4A4D2-A39B-335D-008B-8CE77145E50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34A3B1-37E0-E12E-B62D-FDD72569592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9A66ED-CBDE-2ED1-D45C-AF5DE42445D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85DC56-5961-D3BD-A150-BF31D0D0B2F9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58EBE-D6F1-B2FD-7907-11351E2C032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A81C2A-1D81-B16D-B913-994BA59595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0778D7-BBFE-BC0F-598E-CF9997C4E8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57207-F844-85CD-F9E3-4241A0D19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9572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4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539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6F23CE4-FE7C-2C77-B618-E4367FE3FD3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4592"/>
            <a:ext cx="10985868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9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265669-6E78-1892-09A2-F67A67F5F0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0CF7B4-DE90-21A6-D620-7BCD91B40AD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2433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1424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5C5644D-3FB8-C0EA-0621-072EA22A32DB}"/>
              </a:ext>
            </a:extLst>
          </p:cNvPr>
          <p:cNvSpPr>
            <a:spLocks/>
          </p:cNvSpPr>
          <p:nvPr userDrawn="1"/>
        </p:nvSpPr>
        <p:spPr>
          <a:xfrm>
            <a:off x="-1204" y="0"/>
            <a:ext cx="12202931" cy="984250"/>
          </a:xfrm>
          <a:prstGeom prst="rect">
            <a:avLst/>
          </a:prstGeom>
          <a:solidFill>
            <a:srgbClr val="0921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8" name="Title 23">
            <a:extLst>
              <a:ext uri="{FF2B5EF4-FFF2-40B4-BE49-F238E27FC236}">
                <a16:creationId xmlns:a16="http://schemas.microsoft.com/office/drawing/2014/main" id="{698B294A-1ABD-A2E5-1542-7F44880CB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4592"/>
            <a:ext cx="8679547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9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C879C4-6798-5EC1-77CC-5185E79CD7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1A35971-C5D2-72BF-2C57-4B508229576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2B27B05-49C3-4EA1-377B-24EFFD537FB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Logo, company name&#10;&#10;Description automatically generated">
            <a:extLst>
              <a:ext uri="{FF2B5EF4-FFF2-40B4-BE49-F238E27FC236}">
                <a16:creationId xmlns:a16="http://schemas.microsoft.com/office/drawing/2014/main" id="{AAB72009-33DF-CB2F-3AB4-7A14582D0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96" t="17928" r="20543" b="18722"/>
          <a:stretch/>
        </p:blipFill>
        <p:spPr>
          <a:xfrm>
            <a:off x="9374127" y="105280"/>
            <a:ext cx="1131948" cy="77369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0702500-F4D3-18C0-5CEA-0237C3819E6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FF4318-84B2-E7F5-CFD2-E8C32F72F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8533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235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3627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B761586D-ADF6-529C-2413-590788670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697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B761586D-ADF6-529C-2413-590788670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AB13C4C8-B71C-8BC1-0E3C-8C4DC174835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4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2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40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/>
        </p:nvCxnSpPr>
        <p:spPr>
          <a:xfrm>
            <a:off x="486325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/>
        </p:nvCxnSpPr>
        <p:spPr>
          <a:xfrm>
            <a:off x="3335033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/>
        </p:nvCxnSpPr>
        <p:spPr>
          <a:xfrm>
            <a:off x="6207185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/>
        </p:nvCxnSpPr>
        <p:spPr>
          <a:xfrm>
            <a:off x="9079340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1132394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067016C-4D61-C698-2AAD-FFD59BADA60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F4E00A7-EFE8-F4A2-78A5-50FE1CB61C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165423" y="-2477"/>
            <a:ext cx="2036303" cy="9867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244FC22-6B79-1C3E-A2DA-92FA9AB159C5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61C27-93DB-15CE-45C5-0095041A7E5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DDD02F-F15F-2AEB-48DB-6DA77AA7E01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787604-BAF9-7630-438C-641264347A0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F16887-1288-3CF2-8BD3-C1DB8573868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97F63B-6B5D-5AAE-A494-07D9AE822EF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E3C0B8-CB1F-F4D8-2670-2EE4447E08DB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612653-4D68-9488-9DFF-4318F161E62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B0C6BC-D022-D9C3-CA14-913AC87540C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5ACF052-98BE-98AE-3D4A-6658A1D40DA1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C3E1CC-523A-B22A-FC77-41C4DAB0DF2C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7FCD131-7033-D4B8-4E06-B8CEB5837C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1302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1211A5B-9B0D-C6D5-47A1-70A5553BC9A4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3344243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B19AC64-B490-BF55-4E2F-DCA061E7108C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207189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B31A14-1A3C-3E8B-A4A5-0B5AC9BD4457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9091847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35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1443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5EC22CD-4980-8653-12BF-5C4C80672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833" r="985"/>
          <a:stretch/>
        </p:blipFill>
        <p:spPr>
          <a:xfrm>
            <a:off x="1" y="0"/>
            <a:ext cx="6483963" cy="6858000"/>
          </a:xfrm>
          <a:custGeom>
            <a:avLst/>
            <a:gdLst>
              <a:gd name="connsiteX0" fmla="*/ 0 w 6483963"/>
              <a:gd name="connsiteY0" fmla="*/ 0 h 6858000"/>
              <a:gd name="connsiteX1" fmla="*/ 6483963 w 6483963"/>
              <a:gd name="connsiteY1" fmla="*/ 0 h 6858000"/>
              <a:gd name="connsiteX2" fmla="*/ 6483963 w 6483963"/>
              <a:gd name="connsiteY2" fmla="*/ 6858000 h 6858000"/>
              <a:gd name="connsiteX3" fmla="*/ 0 w 648396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3" h="6858000">
                <a:moveTo>
                  <a:pt x="0" y="0"/>
                </a:moveTo>
                <a:lnTo>
                  <a:pt x="6483963" y="0"/>
                </a:lnTo>
                <a:lnTo>
                  <a:pt x="648396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1282551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9D096F45-7B3C-1DCC-02CD-805D12DD6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43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096F45-7B3C-1DCC-02CD-805D12DD6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6F23CE4-FE7C-2C77-B618-E4367FE3FD3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59548"/>
            <a:ext cx="1096077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265669-6E78-1892-09A2-F67A67F5F0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0CF7B4-DE90-21A6-D620-7BCD91B40AD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589BBA-1E7C-0069-E57B-23F855B098D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D5238E6-2807-CE10-087F-3F164EDCD79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88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06457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66FFACF-CEE3-F8BA-30B1-E9B7F1D51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713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FFACF-CEE3-F8BA-30B1-E9B7F1D51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10"/>
            <a:ext cx="10970377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6AFD1CD-D5BA-6140-8A4F-0DE9E300A16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797EBC-F45A-5614-213D-FC429635A4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361CBB-EF59-D080-80B0-5480006913E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24983" y="-274666"/>
            <a:ext cx="1333064" cy="12243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96AFB0A-5734-D136-99C1-FC06A163AC5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A3F4DF-9AFD-E5CA-6FFC-0C5171D37794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877785-DF99-DAEF-7103-151AA5D4AF7C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AB857CA-9ED5-A3BF-FB4B-2364F4DC154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63CA41-CD6F-08EF-E125-A56CCE0B3C9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A418D9-25DB-F3D1-1ADC-C3DC47DD25C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9E3A67D-E674-79A3-EC8F-3BB9806406E6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6F6241-F702-3A52-9619-A59138C1753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B3004-8E8A-A99A-A6D5-743A8F0BDB93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8EDF87-9B2F-056B-5F32-14C76A5B655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8948B8-0F08-F0AC-5D67-008A3E323F9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78667E-ED3C-080E-08B8-39BB7381CA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E6AB6E1-E07C-5D1F-3C6B-B8A298B9DF5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36516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2AE29F-8132-E512-0EFC-58E9A4D85AB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35517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04923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547D47EC-F63B-632D-EBFC-1F31A7FD57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405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7D47EC-F63B-632D-EBFC-1F31A7FD5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C21270-35B1-917E-5B39-F641AC7A2B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EC18E0-FF9D-06C5-E61F-880246308F8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212779" y="-2476"/>
            <a:ext cx="1988947" cy="9637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21BF71D-D82A-9760-6CC0-589D33DD0EB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60027D-FE01-9E9C-AD68-E6A41B660B1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2C3C04-63CE-5984-FEB5-4E970C22DD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6B8117-920A-3F52-9178-292E8F445D2B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BB7939-B76C-8B48-04B0-DF24C0F4AAD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5823CA-0482-3BB7-C8ED-9743F4FF96D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A90C83-7B47-517E-E735-C5A4B0CC674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5B2EA1-B44B-0503-E5B8-56C9445DA11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E6E4564-4B84-E97D-0AA4-9AAED30E7F7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3550EF-042D-0369-FC2F-915573C5BB6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332006-AC9E-C354-AEB7-85CE7FE6B69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6BA6181-C0C2-6FAD-E2D9-B2DE669F7E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632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6367D2C-AEEF-96B6-7AE2-5C2A9F2F574F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335031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A3EC043-A860-35A9-429A-A760D2DDD0FE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0718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01FDFF9-DA9D-3895-9B40-7565F0766830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079340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9258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AEDE377-A493-FC31-C42F-9CD4295FF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130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EDE377-A493-FC31-C42F-9CD4295FF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object 2">
            <a:extLst>
              <a:ext uri="{FF2B5EF4-FFF2-40B4-BE49-F238E27FC236}">
                <a16:creationId xmlns:a16="http://schemas.microsoft.com/office/drawing/2014/main" id="{4F62F695-717D-374C-802D-7FEBEAD6FE46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59548"/>
            <a:ext cx="10937489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6A1DD92-022E-84B0-0DC9-553E39FBE8A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5AB0E66-6F76-8A2A-0794-5CC77A15183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6E22F23-0A09-3474-5588-4788EFFFD991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13D79B-8F94-CE57-37C2-5B43A9DB45C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7D53F2-264D-6985-2BBC-3A6B5ABF88F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65F414-B91D-CDB6-4669-B6C2DE11E4B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8BDE56-681E-C58C-94BC-66F06762AF2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FD51FB-2CC7-0B9E-449D-953D21AE882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968223-A9A4-7128-ED40-723D21F98C8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97E506-99A8-D7B7-CDA8-B5E0422C866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E5FC88-D8B7-6440-2CEB-AF649A4E705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084707-59A7-2CAF-9AEE-6D19DBBCDEF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9A7F53A-47F8-9935-1B64-6E245F3E6D6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1FB5B96-D479-A7BC-B63E-14247CF055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AC2734-39D8-8E3D-702D-EF042AB021E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88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78822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14A17CE-AB43-6E66-8D18-2B3103299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29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4A17CE-AB43-6E66-8D18-2B3103299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68310"/>
            <a:ext cx="10970377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BC4C6AE-41C6-1CC2-A42F-25C2EE01C63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76D29E3-A43A-56F2-A467-264924E0A9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2E00029-8738-DB16-239C-207D2DCC08C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B1F1DE-B4AB-E735-907E-36EEA0CEFAA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8F0CAD-F38C-13A2-12C2-3CAD2475DBE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86A38A-E963-7417-9675-71EBA197FD1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9629AD-8F79-FE56-1339-27FF070A5C93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EC9697-41F6-731A-04D5-7AD2D19581E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94BFA9-84E5-E860-EA37-F2BFCD586355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55E0E4-41D2-C564-D366-FA7A3F882AC5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F192CC-D203-7349-BD22-10FA31A4C67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E2969E-48D9-B9AB-6470-4ECB3AF00FD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274EA24-1080-0B89-6B4D-A3FCC576068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7E83E2B-555E-E8DB-0842-DA192D98125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544B17D-32E0-B201-21C7-497DFDE2ECE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36516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237D7AF-3724-7FB3-695A-EC0C5562BB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35517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83233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A42047CA-4D7E-49CD-89B7-782043CEB0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587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047CA-4D7E-49CD-89B7-782043CEB0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567F9A-4D2B-3E19-08D8-47A264DE46E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1A76CC-1BCA-2DFB-E9F8-4E1283E1B1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0C5574A-1AAF-ECF7-8EEF-8C3EA962FBAF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BC7268-8C86-E531-E28D-303596A0CFC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97BC75-5B9D-BB13-CFE5-8FB936300D0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7AFA52-3D42-BCAC-89FA-6525B6ADDCC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51113B0-CFA5-A55C-B8D6-486A20922CA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9B4BCA-2FEF-27A2-76C4-05850F47BFD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BFFC89-AC58-AA70-985F-F565A47681D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ABFFAF-CF96-84F9-C307-3652ECD98974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BF7400B-4F09-903F-3B6C-AEFA8935C55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BF62C9-BAE0-5761-317B-2A3E1B3EDD0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F36E62-A079-9BC9-710F-C6179C44F54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9BBB17E-1FB8-89FC-84DB-F8749D6735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632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4BD2DA-8164-CCCF-2F79-1BCD6CC23A1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335031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2043910-358D-24A2-2269-3CA3EF579A19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0718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97CEFF0-425F-0206-B052-C17B4064CCD4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079340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87470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ADC91A02-808B-89FD-B6E4-698BDBF5E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76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C91A02-808B-89FD-B6E4-698BDBF5E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-7257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46328" y="670181"/>
            <a:ext cx="10515600" cy="883666"/>
          </a:xfrm>
        </p:spPr>
        <p:txBody>
          <a:bodyPr vert="horz">
            <a:noAutofit/>
          </a:bodyPr>
          <a:lstStyle>
            <a:lvl1pPr algn="ctr">
              <a:defRPr sz="4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51211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/>
          <p:nvPr userDrawn="1"/>
        </p:nvCxnSpPr>
        <p:spPr>
          <a:xfrm>
            <a:off x="127635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/>
          <p:nvPr userDrawn="1"/>
        </p:nvCxnSpPr>
        <p:spPr>
          <a:xfrm>
            <a:off x="531876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3584" y="310046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852D0E0-2963-6D41-B973-2FA101FBD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87568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788448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sp>
        <p:nvSpPr>
          <p:cNvPr id="48" name="Text Placeholder 43">
            <a:extLst>
              <a:ext uri="{FF2B5EF4-FFF2-40B4-BE49-F238E27FC236}">
                <a16:creationId xmlns:a16="http://schemas.microsoft.com/office/drawing/2014/main" id="{6B80AD42-B019-154B-944C-39626896A7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34744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0797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06933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294555-99A8-879D-49E2-99108115AE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7494" y="-11876"/>
            <a:ext cx="2054940" cy="15538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FF7442-BE5C-D7B8-B267-8F53CB2381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2321" y="6631116"/>
            <a:ext cx="2324126" cy="10795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9FD74F-65E5-9316-4325-3DA28D03B47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8E94C0-7F9D-36C3-2EBF-12537FD2689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3B0BA2-EEC0-17AE-FC03-5166353FD630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CD4E3F-DE0B-AF32-F056-F4FA09B7AD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A8F429-92F5-A07E-BC0C-76EFA2B0706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2595F3-2E9F-70D3-AD46-3AE7CC66C6D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EADCB5-2876-5916-5039-46CEE751192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3CC370-572F-E3D7-A9A4-FAE0B5CC90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80836BA-77C6-6D77-44BB-EBBC32B3FB6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F23685-D19F-264A-ED72-A0C8185BF44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B4F13E-405C-7762-19F4-63BF344B45F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6DBF42-11B8-7077-E948-39D5BF99852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3323967"/>
            <a:ext cx="3053962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D1B08E2-03D4-0AF5-7FC1-BBCE75C56EF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6516" y="3323967"/>
            <a:ext cx="3344091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E64CF58-E155-6AB4-5CAC-E0543065708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473749" y="3323967"/>
            <a:ext cx="3105859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73413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1FC149C-A9AC-B564-1A98-A267BCCF0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083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FC149C-A9AC-B564-1A98-A267BCCF0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object 2">
            <a:extLst>
              <a:ext uri="{FF2B5EF4-FFF2-40B4-BE49-F238E27FC236}">
                <a16:creationId xmlns:a16="http://schemas.microsoft.com/office/drawing/2014/main" id="{AF9EEA82-5990-F847-8B4D-E725893922FD}"/>
              </a:ext>
            </a:extLst>
          </p:cNvPr>
          <p:cNvSpPr/>
          <p:nvPr userDrawn="1"/>
        </p:nvSpPr>
        <p:spPr>
          <a:xfrm>
            <a:off x="47989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object 2">
            <a:extLst>
              <a:ext uri="{FF2B5EF4-FFF2-40B4-BE49-F238E27FC236}">
                <a16:creationId xmlns:a16="http://schemas.microsoft.com/office/drawing/2014/main" id="{15E19BCA-6990-FF4D-BF2F-57B5929A6AB4}"/>
              </a:ext>
            </a:extLst>
          </p:cNvPr>
          <p:cNvSpPr/>
          <p:nvPr userDrawn="1"/>
        </p:nvSpPr>
        <p:spPr>
          <a:xfrm>
            <a:off x="72881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object 2">
            <a:extLst>
              <a:ext uri="{FF2B5EF4-FFF2-40B4-BE49-F238E27FC236}">
                <a16:creationId xmlns:a16="http://schemas.microsoft.com/office/drawing/2014/main" id="{39124CAF-DA73-9D41-A0F0-4525946FEACF}"/>
              </a:ext>
            </a:extLst>
          </p:cNvPr>
          <p:cNvSpPr/>
          <p:nvPr userDrawn="1"/>
        </p:nvSpPr>
        <p:spPr>
          <a:xfrm>
            <a:off x="9764600" y="0"/>
            <a:ext cx="242740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object 2">
            <a:extLst>
              <a:ext uri="{FF2B5EF4-FFF2-40B4-BE49-F238E27FC236}">
                <a16:creationId xmlns:a16="http://schemas.microsoft.com/office/drawing/2014/main" id="{4913DA6F-DBCF-0141-B7AD-DBA48355ABDB}"/>
              </a:ext>
            </a:extLst>
          </p:cNvPr>
          <p:cNvSpPr/>
          <p:nvPr userDrawn="1"/>
        </p:nvSpPr>
        <p:spPr>
          <a:xfrm>
            <a:off x="0" y="0"/>
            <a:ext cx="23280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E00BF257-0D6D-8141-A7E4-83D491757120}"/>
              </a:ext>
            </a:extLst>
          </p:cNvPr>
          <p:cNvSpPr/>
          <p:nvPr userDrawn="1"/>
        </p:nvSpPr>
        <p:spPr>
          <a:xfrm>
            <a:off x="23097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B31E5A3-020D-7E4F-A87B-5A45BF3BB613}"/>
              </a:ext>
            </a:extLst>
          </p:cNvPr>
          <p:cNvCxnSpPr>
            <a:cxnSpLocks/>
          </p:cNvCxnSpPr>
          <p:nvPr userDrawn="1"/>
        </p:nvCxnSpPr>
        <p:spPr>
          <a:xfrm>
            <a:off x="390593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D76473E-B6B4-964B-B0EC-72FDC57362A2}"/>
              </a:ext>
            </a:extLst>
          </p:cNvPr>
          <p:cNvCxnSpPr>
            <a:cxnSpLocks/>
          </p:cNvCxnSpPr>
          <p:nvPr userDrawn="1"/>
        </p:nvCxnSpPr>
        <p:spPr>
          <a:xfrm>
            <a:off x="2779874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57E0E07-3915-B04B-8AFC-0F7840CB2A08}"/>
              </a:ext>
            </a:extLst>
          </p:cNvPr>
          <p:cNvCxnSpPr>
            <a:cxnSpLocks/>
          </p:cNvCxnSpPr>
          <p:nvPr userDrawn="1"/>
        </p:nvCxnSpPr>
        <p:spPr>
          <a:xfrm>
            <a:off x="5308117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B8BAAAA-1FC8-504B-8F64-E895C8F23CD0}"/>
              </a:ext>
            </a:extLst>
          </p:cNvPr>
          <p:cNvCxnSpPr>
            <a:cxnSpLocks/>
          </p:cNvCxnSpPr>
          <p:nvPr userDrawn="1"/>
        </p:nvCxnSpPr>
        <p:spPr>
          <a:xfrm>
            <a:off x="7755482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2251DFE-9E58-6E44-BFE8-816852ACB3C8}"/>
              </a:ext>
            </a:extLst>
          </p:cNvPr>
          <p:cNvCxnSpPr>
            <a:cxnSpLocks/>
          </p:cNvCxnSpPr>
          <p:nvPr userDrawn="1"/>
        </p:nvCxnSpPr>
        <p:spPr>
          <a:xfrm>
            <a:off x="10243938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D9459-6CCA-8A4F-925C-EE8B944C3E8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42321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E4C36B83-1666-F442-9A9A-8D7FD9AB45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62597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593A6492-91F9-0E4D-ADAB-7C1320DB190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5125568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EBBEBFD-0D8B-494F-9069-98CE3ACC2FD0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60529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3D48B941-4416-AE48-89CF-A7CE72EFEE49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10052787" y="1500435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7" name="object 2">
            <a:extLst>
              <a:ext uri="{FF2B5EF4-FFF2-40B4-BE49-F238E27FC236}">
                <a16:creationId xmlns:a16="http://schemas.microsoft.com/office/drawing/2014/main" id="{8B9E3A6C-84CD-5A4B-B2CE-DB99E247309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78D9CE9E-B3F6-B24C-9944-5A28362BC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0973168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DF4CF9-0720-C7A8-7857-656B6E6A8B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2321" y="6631116"/>
            <a:ext cx="2324126" cy="10795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880969C-69F0-E43E-58BD-76BD54FA5FA0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ECFEB5-C0BF-6105-BCD2-40F24546456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6158C1-BA68-2166-F026-431C5AE0C82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AEC3CA-0185-E21E-6609-9D555D68F95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7C3BB0-88A2-7968-068B-B0969F2F2F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821DFD-57A1-8FB9-B369-197075341B9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38AE2C1-E623-5EE6-0414-416EA412B471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70D2EB-7D43-972B-E169-4051CC56A66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64BDDF-D339-C22A-4529-2505C73A37E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F5DA5C-04A8-3FF4-DAB9-257C1EB5F18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2CB375-78D0-8C24-F562-69DD8C6FBBF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5E6836-78BB-6962-915B-4707CF38BA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232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B19E118-8D46-AE57-D88A-ECEDCE03B101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26197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B5E2367-2020-3C66-2C7E-5CE83FBE2AEB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51089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9A0E608-FD0E-9A0F-CABF-7E3E6FC202C5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757784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26ACF40-11A0-189B-6DF9-36CBE5E16A35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100365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37157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B3DA0B88-4CCF-EB89-DBC5-0146B79BFD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504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DA0B88-4CCF-EB89-DBC5-0146B79B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5" descr="A picture containing grass, outdoor, person&#10;&#10;Description automatically generated">
            <a:extLst>
              <a:ext uri="{FF2B5EF4-FFF2-40B4-BE49-F238E27FC236}">
                <a16:creationId xmlns:a16="http://schemas.microsoft.com/office/drawing/2014/main" id="{C18EF10D-95A8-E306-5175-31927E738C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5294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6" y="2142035"/>
            <a:ext cx="5167766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38D9F5-6642-5401-CF10-01A92AC1DD6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68EA4C-30F1-92FD-A752-45FD806B638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B677A3-C280-DB8A-7895-BBF6AB3955B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BE3DE4-90D8-AC9A-8492-214975A3F0DC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AB8160-AC3C-2447-E0B6-1378CA7DE89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9BAF25-0505-132B-3956-D8230AA92FC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BFF70D-9CFE-6075-89A9-5D070BEDC40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46A3DF-DA90-2824-668E-5E28002E032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5800F1-9369-76BB-3541-A79812603EE1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AA3DC0-7F37-2A79-C7BB-04AD61D71DC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7384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7D4260D-EB36-EB2C-AD99-FD36FAD464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5689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D4260D-EB36-EB2C-AD99-FD36FAD46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A54BD8B4-3CF2-94C7-4816-7C37BC7CE2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  <a:p>
            <a:pPr lv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DAC4D81-9432-ABA0-BC09-85551DD12F0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EAA308-EF79-7F6E-9AD1-1473BB17FC1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FC4975-756A-DF2C-7ACE-4A14F71A1D2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C6F51D-D573-6D96-1180-C1F1BD268CD1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64BE917-472C-93CE-1291-1020A4AA2FA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F78A31-231D-BE48-5E34-B59E1BC0B66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D5A784-1E79-C1F5-14F2-F0C91F2B96A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2CED24-E8EC-1DEE-0D80-23F09898381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C6CCAB-6698-7C8A-ED1F-C074DE3B323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74FDAF5-C958-9BB4-D919-3F0A28EB944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056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077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A02ACCD-E87B-DD4A-AC08-0F71DCAD4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3" r="13756"/>
          <a:stretch/>
        </p:blipFill>
        <p:spPr>
          <a:xfrm>
            <a:off x="1" y="0"/>
            <a:ext cx="6483963" cy="6858000"/>
          </a:xfrm>
          <a:custGeom>
            <a:avLst/>
            <a:gdLst>
              <a:gd name="connsiteX0" fmla="*/ 0 w 6483963"/>
              <a:gd name="connsiteY0" fmla="*/ 0 h 6858000"/>
              <a:gd name="connsiteX1" fmla="*/ 6483963 w 6483963"/>
              <a:gd name="connsiteY1" fmla="*/ 0 h 6858000"/>
              <a:gd name="connsiteX2" fmla="*/ 6483963 w 6483963"/>
              <a:gd name="connsiteY2" fmla="*/ 6858000 h 6858000"/>
              <a:gd name="connsiteX3" fmla="*/ 0 w 648396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3" h="6858000">
                <a:moveTo>
                  <a:pt x="0" y="0"/>
                </a:moveTo>
                <a:lnTo>
                  <a:pt x="6483963" y="0"/>
                </a:lnTo>
                <a:lnTo>
                  <a:pt x="648396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4933764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3BFC95A-A0E5-ABE4-A831-605688F889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969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BFC95A-A0E5-ABE4-A831-605688F88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7" descr="A picture containing tree, person, outdoor, person&#10;&#10;Description automatically generated">
            <a:extLst>
              <a:ext uri="{FF2B5EF4-FFF2-40B4-BE49-F238E27FC236}">
                <a16:creationId xmlns:a16="http://schemas.microsoft.com/office/drawing/2014/main" id="{B8298057-DE82-FC85-EE1C-F891D59A7D1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980BA0-F4CC-2F4D-9FC7-D12504A215C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1C82A-F62E-F146-D5D2-22F8373BE70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2CECD6-04D8-8F0D-1556-5ECC323860C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47EB-7533-F0EB-7E7B-25F157C2E08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52836-20AD-3E5E-104F-5E6DCE1E8BD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504C-E0B3-64A5-4096-159AA94FBA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DBE7A4-D068-5592-193B-774DB45899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2727F2-FC5D-78C0-F1B9-F39B017CBA4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5DB757-F9B2-AA75-7D61-74C43CC93D7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B75CBD-A5DF-53AE-547F-B08FE23E449F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6197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ttern_Text_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56A3944-0A05-1716-7C6D-A1E7D71B0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81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6A3944-0A05-1716-7C6D-A1E7D71B0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 descr="A room with a table and chairs&#10;&#10;Description automatically generated with medium confidence">
            <a:extLst>
              <a:ext uri="{FF2B5EF4-FFF2-40B4-BE49-F238E27FC236}">
                <a16:creationId xmlns:a16="http://schemas.microsoft.com/office/drawing/2014/main" id="{913A3D69-1DE2-BA52-BBE3-044E32763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78"/>
          <a:stretch/>
        </p:blipFill>
        <p:spPr>
          <a:xfrm>
            <a:off x="5704449" y="0"/>
            <a:ext cx="6486846" cy="68817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980BA0-F4CC-2F4D-9FC7-D12504A215C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1C82A-F62E-F146-D5D2-22F8373BE70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2CECD6-04D8-8F0D-1556-5ECC323860C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47EB-7533-F0EB-7E7B-25F157C2E08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52836-20AD-3E5E-104F-5E6DCE1E8BD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504C-E0B3-64A5-4096-159AA94FBA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DBE7A4-D068-5592-193B-774DB45899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2727F2-FC5D-78C0-F1B9-F39B017CBA4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5DB757-F9B2-AA75-7D61-74C43CC93D7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B75CBD-A5DF-53AE-547F-B08FE23E449F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80278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B7C344F-D031-7265-A0C3-D4C3C73FBA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495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C344F-D031-7265-A0C3-D4C3C73FBA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A picture containing person, outdoor, solar cell, outdoor object&#10;&#10;Description automatically generated">
            <a:extLst>
              <a:ext uri="{FF2B5EF4-FFF2-40B4-BE49-F238E27FC236}">
                <a16:creationId xmlns:a16="http://schemas.microsoft.com/office/drawing/2014/main" id="{259430CB-4F3C-D247-F49C-2B37E33F23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7F6E36-F8F8-F843-063A-84931F7773E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8E3AA9-5962-9473-7645-7BEB013433D9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D84388-3F4F-25B2-B3D5-0AA8ADF6A56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2C1296-DA13-AC2A-93EE-3F368B43D38C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0388D2-CBFA-F6A8-B106-372FC3B8456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B3F081-0AF3-4167-C39E-3C5050EB49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3CF6FA-E1AD-C5BD-66CF-5A71C390229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4D1C81-92AE-E36C-6449-60C6AFBB33E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BFDCE-0ACB-5474-D1E7-49CAA437041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31D424-3371-E659-3557-02D7DFC15D1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2975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1B3AAF2D-CC91-B5B1-1BB3-83B988FBA9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88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AAF2D-CC91-B5B1-1BB3-83B988FBA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8" descr="A person holding a banana&#10;&#10;Description automatically generated with medium confidence">
            <a:extLst>
              <a:ext uri="{FF2B5EF4-FFF2-40B4-BE49-F238E27FC236}">
                <a16:creationId xmlns:a16="http://schemas.microsoft.com/office/drawing/2014/main" id="{EA9A6640-C84F-5A74-8412-924D1500A6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6" y="2142035"/>
            <a:ext cx="5167766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F0F0048-6C8D-7881-DD03-E710C514FFB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3BD74D-7F42-7AAA-5B4C-4731849485E5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06D6D6-7BAB-8220-615B-73C7F2AF476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80DEAA-5409-40EA-89DB-D10D724909A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63B611-096C-A87C-763C-E1923CBF09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AE05D23-A50C-3444-D19B-11803776FD4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AE1BC7-A4BE-0803-80F9-3F7568DE51D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93A00E-259E-2BE5-795D-29BA529EC01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485D10-AE20-415F-7066-FDB91E1C2FE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5998055-DFDD-BE62-910C-EAD84A796DF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7257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F7E7D7AC-AFE8-1B8D-B55F-8DEC7E115C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37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E7D7AC-AFE8-1B8D-B55F-8DEC7E115C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5A8E4F6-1894-77A0-2CE3-95A94C1F37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8966" y="5485931"/>
            <a:ext cx="4283034" cy="16161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82FF431-011F-065B-7635-3B0775D7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82660"/>
            <a:ext cx="9053536" cy="909493"/>
          </a:xfrm>
        </p:spPr>
        <p:txBody>
          <a:bodyPr vert="horz">
            <a:normAutofit/>
          </a:bodyPr>
          <a:lstStyle>
            <a:lvl1pPr>
              <a:defRPr sz="40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Your Titl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4CF03F9-CCF4-96AE-8B45-2355FC415B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5737" y="1470453"/>
            <a:ext cx="9053536" cy="698500"/>
          </a:xfrm>
        </p:spPr>
        <p:txBody>
          <a:bodyPr>
            <a:normAutofit/>
          </a:bodyPr>
          <a:lstStyle>
            <a:lvl1pPr marL="0" indent="0">
              <a:buNone/>
              <a:defRPr sz="2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D9D17C-9524-6BEF-CF6C-A919225A046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D83AB3-9AA2-719C-C570-5EE9D851A47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7EBA05-7D13-4F9E-288A-885510462A4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AFBA32-3C18-8B2C-D7A5-0D90858D5882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602411-09B0-77D6-A104-890436EF9355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3A570A-65CD-F75D-6902-90515431D59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475AFB-9996-B4B5-CD29-64048A6DCE5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B8F73E-803E-DCCC-5754-C5E8685FE88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51C619-AFD1-BE75-3F5D-7C54EB750DD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E4D7D-F752-1FE1-4383-11EEBB02B314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18" name="Picture 17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81C28E8A-BDB9-EAFD-A709-096057EC9BC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5485" y="115210"/>
            <a:ext cx="3086332" cy="1266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31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531E96C5-D9AD-571B-51C2-15F680B38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1E96C5-D9AD-571B-51C2-15F680B38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3" name="Picture 2" descr="A hand holding a bottle of water&#10;&#10;Description automatically generated with medium confidence">
            <a:extLst>
              <a:ext uri="{FF2B5EF4-FFF2-40B4-BE49-F238E27FC236}">
                <a16:creationId xmlns:a16="http://schemas.microsoft.com/office/drawing/2014/main" id="{BE597E7F-AA54-B8B8-06DB-4C82A26BA6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6"/>
          <a:stretch/>
        </p:blipFill>
        <p:spPr>
          <a:xfrm>
            <a:off x="-18492" y="-5642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  <a:p>
            <a:pPr lvl="0"/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918738C-0866-70C9-A425-B3D16DBBB117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4A8BB-23B4-0E60-2AE4-0311F04F49E8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466485-941E-37BB-C00E-F591177E458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AD85D5-2F1E-2411-A352-A2DB424AF7D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683FF1-71D0-C05C-CCF2-C1AE7C91D43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64E530-99BD-7008-8BD8-B1AD053D15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FA1415-C381-0079-6795-E5233A4859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526404-6F99-F9E8-B86D-1F2EB76C59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D5C9550-AC32-4219-D43D-89E9E963148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07EC87-B9A7-22A6-C11F-794789EC9B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994F5A0-762B-71F2-E4DC-A65933A906E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152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FF2CE06B-8085-250F-2C6F-370D539F52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805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2CE06B-8085-250F-2C6F-370D539F5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5" name="Picture Placeholder 7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03576E69-16F4-B92B-7B54-9BEE75F24B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699" y="-11875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ACBA6-ED65-A075-044C-157A3988DD07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E46624-2FA3-56AA-9BD0-FF8CB5E4BD2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C3C414-B487-C8A2-4445-41D6D9D0D375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D39112-F0E7-0B91-7929-FE00D63CAE9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9E8579-48C2-2E27-D8CD-3FD603AF3E9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F0CAF1-9EE9-7F5E-78E5-A28ABA0327A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626093-BE99-B01B-62CE-8F1A9236329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B609DAE-21F9-FF37-AD1B-731C36FEEF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FEA3C0-D3BB-9334-6ECB-2098DCC534E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0C08860-FC6F-13D4-FCEB-22578524D5C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B61DE1-B8DE-A1D8-F6B9-266715364BD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2809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B5908F89-533E-9111-5B5C-3698E981E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154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908F89-533E-9111-5B5C-3698E981E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3" name="Picture Placeholder 7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C8006515-9A3F-B158-5428-4C2587C011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699" y="0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D0D38A-6EBD-BF79-3C0C-08D0E4B6262F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500C7E-3B8D-6452-B8BD-4BFD7805BF8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D7CB1-3CF4-8473-2267-F949407E3E0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7EC090-2587-1BAB-19CA-BC07204050B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C93B9C-487F-6859-AAC3-53673ABFFAF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6D9581-F37B-491C-F59B-7E5849AEAE2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39B8B3-8FB9-029C-F577-8D4DC8F3E0A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E068C2-145E-5214-733F-D4730E74823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8A0F40-88B8-C05F-A59F-DA9E08D557D3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184F96-E786-821D-FDDE-B94293C232E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A186D1-D319-272A-392B-2D4BB8363F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072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F2DCF232-C5B2-972B-40BD-9FBC301267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71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DCF232-C5B2-972B-40BD-9FBC301267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5" name="Picture Placeholder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20A3125E-709A-54FF-CDE1-E6ED61823D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2699" y="0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512C78B-4DD2-2DB2-C048-906F06F1D2C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602411-BC12-709F-5792-1CF5348A4E6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37D445-B98A-2797-753E-053486510E8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C16B31-ACEF-6410-265F-10670599331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B0A1AD-951D-0EA8-3F15-9606E35A32E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FC1457-77F8-0B27-1CF3-04CEE71295C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FC750D-6868-4EA4-CBD7-2E9F4A64EF2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6E62E3-EA46-C6F5-5D6C-5C4F8D72665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1F35D8-E021-1AE9-DD84-41A7B5F1F61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103FAE-F5D5-DFA8-8777-C67F9FC1FC6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B1E62C-0A52-B03D-3506-77902CDAC06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016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C4071D4-D543-0738-38C4-2BE7FB318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587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4071D4-D543-0738-38C4-2BE7FB318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CFD9D5-3279-1C0B-5E04-A2BBCA0E039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181214" y="-73753"/>
            <a:ext cx="10449184" cy="698316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971ACDC-5FDF-95DA-42D4-1B68F7AE626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E3D7FD-266D-09A2-7054-51092402DE7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8C3529-3A0E-5A61-10BE-D5C40257A56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B5AA4D-E42A-CEEE-BA48-EF023D8FFE43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1A2A76-F80F-9C68-9263-78BAC1CD1B8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1BCB31-A2CB-5406-1D8D-B9D77A11220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03EEA1-B4F5-485B-DAB5-756F28DE58F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6365B9-478F-1D2F-909D-FCD4ED8F224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FA46F2-87F6-642E-DCF4-FDD22AF9892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45D017-FB52-0351-F7AC-712BD744162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7782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795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9" name="Picture 28" descr="A factory with smoke coming out of it&#10;&#10;Description automatically generated with low confidence">
            <a:extLst>
              <a:ext uri="{FF2B5EF4-FFF2-40B4-BE49-F238E27FC236}">
                <a16:creationId xmlns:a16="http://schemas.microsoft.com/office/drawing/2014/main" id="{2F135909-D065-DA8C-0640-7D08828C45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08" r="31393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40020910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818612A1-0BDE-ADF5-F3D7-AB150AEEF8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649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8612A1-0BDE-ADF5-F3D7-AB150AEEF8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5F814B-27CF-808E-CCB6-2EB1B0274DE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35603" y="-320633"/>
            <a:ext cx="11751512" cy="78322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BCD5E67-0949-70E2-4EE3-A020D7DA6C4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C36EA9-C765-4B3F-FA81-EE9D8F92C8B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165CC4-E468-124A-EC3E-17459D93E8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897FF5-4834-1D9E-B64F-04F20B18F5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34DFB0-995D-AAC8-38B7-E7E87F655FB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8B708A-2170-2E29-89C3-EA1F491C98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D5C75-5F88-B5FC-88B5-05C040E08A94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DB02D0-710D-891F-72D7-0780CD88288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A7D715-197C-A667-4CA6-59FFE6D7BAB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810EB9-08A0-9995-CD9F-9E329244DF3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7930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977751D-82DF-7339-D063-8864CE2C7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688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751D-82DF-7339-D063-8864CE2C7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F7FB10-D837-4EF2-424B-6077A7E8B1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199621" y="-364696"/>
            <a:ext cx="11046469" cy="73770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45B158E-D345-CA93-3C0B-E40CF6D728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994A80-8B9D-AA51-DD05-4943F7503F9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1B00C5-0B1A-A28F-329A-185D4984EF0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FF20F5-6A0A-A83E-F488-B396E016A5D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BC471A-2A6D-446A-306B-8D59BB0B3F0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CFF13D-1CAA-A1D4-735D-EADE3F4C8E55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EE7CDA1-7D12-2F04-2592-AD4FACA553A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AE982-8F47-7F52-D388-07E6F58DE65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C5EC51-037B-9973-795F-05D5653ECF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4406F4-4B8B-2B42-D980-B8AE7ACBC2A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0227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by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F5B959CB-255C-AC28-CE4E-CD5EAC183C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18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B959CB-255C-AC28-CE4E-CD5EAC183C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618064-0F66-BAAA-B4E0-0AC4C5D4754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61D3EAD-6CD0-91BC-3B78-754BB6A067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679" y="3552134"/>
            <a:ext cx="8550255" cy="608864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7EEE86-88B9-8808-CCE5-9E257901E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679" y="4209738"/>
            <a:ext cx="8550255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0B9D558-03B9-1ABA-0F94-47A7A65092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9863" y="2615623"/>
            <a:ext cx="4882137" cy="42423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A5D16CC-EF58-27CF-BFEF-0C27AFAC5D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B2E3CA-7552-A012-1870-4397459C7C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10D44A-EB7C-7973-36FA-F975B7324E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670526-1979-579A-A409-95484C4875B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C72DFD-D886-24BD-6230-886F82DE16A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E99B4D-21B0-8531-F323-F63E0C2EB473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44CC03-7A96-8CAB-310A-886735E9B79C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7A176D-195A-FEE7-B890-611A264398C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56D298-0D65-C9D0-AB7A-EADBAC2AB66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E678CD-DFE7-E032-BDCB-09624B153D8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84EAAC-F7C7-EE92-59FC-32F6C27CDB5C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FC7A50D9-B630-28EB-D082-1D57B9D1568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832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8885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s 3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EF5C1D8-4420-1BE1-F914-52E43C5A3C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4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5C1D8-4420-1BE1-F914-52E43C5A3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0"/>
            <a:ext cx="4082352" cy="6858000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8A25AA2-46CF-1D75-674A-2F5F6448A0B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F34C85-87CB-CC6F-A2C8-9F0BD60AF9C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3A80E6-B572-07A1-C8A9-5F1450819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8BB134-C9BE-5C29-71BB-48F045B520E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70F6F6-6A6F-AD07-4335-7BA30C1FDC1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7B21A-979E-2673-E16C-0A3F276A67D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8D8BB2-685E-A5F6-90C0-616C798CD65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169A2-8799-ED03-DCD7-6B5C54FF48B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27A52F-08BE-2F13-F71D-1082D7F1488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66267B-380A-3666-2BE9-A3CB5CB1688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5D99359B-1DA2-ACA9-FCFC-709C715B5A5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3829" y="2607275"/>
            <a:ext cx="4383762" cy="1798332"/>
          </a:xfrm>
          <a:prstGeom prst="rect">
            <a:avLst/>
          </a:prstGeom>
        </p:spPr>
      </p:pic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id="{E0FCB790-63CC-0661-06AA-3C1D8D2A0C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8524" y="2597710"/>
            <a:ext cx="4383762" cy="1798332"/>
          </a:xfrm>
          <a:prstGeom prst="rect">
            <a:avLst/>
          </a:prstGeom>
        </p:spPr>
      </p:pic>
      <p:pic>
        <p:nvPicPr>
          <p:cNvPr id="32" name="Picture 31" descr="A picture containing text, aircraft&#10;&#10;Description automatically generated">
            <a:extLst>
              <a:ext uri="{FF2B5EF4-FFF2-40B4-BE49-F238E27FC236}">
                <a16:creationId xmlns:a16="http://schemas.microsoft.com/office/drawing/2014/main" id="{24A1C81E-CBB8-4BC4-25D7-668625CC425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877" y="2607275"/>
            <a:ext cx="4383762" cy="179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401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 3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D65EB4BC-39AE-BF8A-30E2-E3F2B99AF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688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5EB4BC-39AE-BF8A-30E2-E3F2B99AF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0"/>
            <a:ext cx="4082352" cy="6858000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61019D1A-7232-164B-BB34-6BBBA1B1C36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8649" y="2544620"/>
            <a:ext cx="3779646" cy="1768759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F8A2D02-8425-9D45-945B-87B48D4D26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1000" y="2544619"/>
            <a:ext cx="3779646" cy="1768760"/>
          </a:xfrm>
          <a:prstGeom prst="rect">
            <a:avLst/>
          </a:prstGeom>
        </p:spPr>
      </p:pic>
      <p:pic>
        <p:nvPicPr>
          <p:cNvPr id="11" name="Picture 10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FB004AB-393C-CA4E-8BB3-CC7B126DE7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415" y="2544619"/>
            <a:ext cx="3779646" cy="176875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A25AA2-46CF-1D75-674A-2F5F6448A0B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F34C85-87CB-CC6F-A2C8-9F0BD60AF9C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3A80E6-B572-07A1-C8A9-5F1450819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8BB134-C9BE-5C29-71BB-48F045B520E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70F6F6-6A6F-AD07-4335-7BA30C1FDC1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7B21A-979E-2673-E16C-0A3F276A67D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8D8BB2-685E-A5F6-90C0-616C798CD65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169A2-8799-ED03-DCD7-6B5C54FF48B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27A52F-08BE-2F13-F71D-1082D7F1488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66267B-380A-3666-2BE9-A3CB5CB1688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36205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556D0FD-26B3-CA9A-DC69-D7DB706D9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973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56D0FD-26B3-CA9A-DC69-D7DB706D9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89FC93A2-116A-4043-A08A-70DACBFC98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931" y="1668026"/>
            <a:ext cx="3240594" cy="3240594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E793A380-0825-AA49-9D61-F2A67DD1230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6475" y="1668026"/>
            <a:ext cx="3240594" cy="3240594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197DB6B1-D1BE-FB4A-ACF1-76FB8564F4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703" y="1668026"/>
            <a:ext cx="3240594" cy="324059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8283F43-D135-1B03-81D0-DA32CCF40D0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96EFFF-1352-22DB-27D9-B6619603102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10D126-9184-8D21-08CC-C89F3FA3285E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18CF8A-77CC-50E0-07B5-204A0F2057C1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1DD3F9-9717-B911-5E3B-C8C86ACADE95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E5D102-6EFE-D768-920B-E34375052A3B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BA59CE-6FEB-84D8-75D1-13A2112C4C8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209B78-0B65-3383-65A2-47D1FD8F0AF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F88EB9-07AB-0619-B2F1-4E85DA67C6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7D2A894-8743-B412-41F7-6510C125B04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37592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B384FDD-0A43-EEB7-01FB-CAF9A69D5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1745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84FDD-0A43-EEB7-01FB-CAF9A69D5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E9B4D0-B29D-84B4-88A6-499A9C7C5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FE03E0-73C4-C134-154E-945B990B8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6235A4-27A2-A3FE-8347-38B99E865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A6154F28-3B2D-4ADA-8E68-4485CBF7EBEF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413802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0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4194940" y="127001"/>
            <a:ext cx="3802120" cy="1093018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6C41C7-97E5-4EEA-8F2D-741738D249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27200" y="1600200"/>
            <a:ext cx="87376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3600" spc="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DAC29FD-7DFF-4A79-98A3-E7B0B00F59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7200" y="2323363"/>
            <a:ext cx="87376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333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2" name="Picture 11" descr="A picture containing text, kitchen appliance&#10;&#10;Description automatically generated">
            <a:extLst>
              <a:ext uri="{FF2B5EF4-FFF2-40B4-BE49-F238E27FC236}">
                <a16:creationId xmlns:a16="http://schemas.microsoft.com/office/drawing/2014/main" id="{7817C22B-CBE0-48D5-B9AE-063418AE9B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7329"/>
          <a:stretch/>
        </p:blipFill>
        <p:spPr>
          <a:xfrm>
            <a:off x="4452880" y="2953284"/>
            <a:ext cx="3286240" cy="3904717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20E3F1-D203-449B-B4CE-FD1432C6EF66}"/>
              </a:ext>
            </a:extLst>
          </p:cNvPr>
          <p:cNvCxnSpPr>
            <a:cxnSpLocks/>
          </p:cNvCxnSpPr>
          <p:nvPr userDrawn="1"/>
        </p:nvCxnSpPr>
        <p:spPr>
          <a:xfrm>
            <a:off x="1066800" y="2297963"/>
            <a:ext cx="10058401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7942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0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4560452" y="130067"/>
            <a:ext cx="3071095" cy="882866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6786"/>
            <a:ext cx="1216328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987135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-605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358257" y="142875"/>
            <a:ext cx="1833743" cy="527157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6786"/>
            <a:ext cx="1216328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63886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156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11" name="Picture 10" descr="A picture containing sky, grass, outdoor, windmill&#10;&#10;Description automatically generated">
            <a:extLst>
              <a:ext uri="{FF2B5EF4-FFF2-40B4-BE49-F238E27FC236}">
                <a16:creationId xmlns:a16="http://schemas.microsoft.com/office/drawing/2014/main" id="{9AE9C199-8DD4-BDD3-1546-6409DF2DE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71" r="33298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40133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0F87DA0-F75A-431D-A639-A8712A0A7A81}"/>
              </a:ext>
            </a:extLst>
          </p:cNvPr>
          <p:cNvSpPr/>
          <p:nvPr userDrawn="1"/>
        </p:nvSpPr>
        <p:spPr>
          <a:xfrm>
            <a:off x="31450" y="7962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6000">
                <a:schemeClr val="bg1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22" name="Picture 21" descr="A picture containing nature, white, night sky&#10;&#10;Description automatically generated">
            <a:extLst>
              <a:ext uri="{FF2B5EF4-FFF2-40B4-BE49-F238E27FC236}">
                <a16:creationId xmlns:a16="http://schemas.microsoft.com/office/drawing/2014/main" id="{D3A35129-DBA0-442C-ABE7-10B4E0B88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87541" y="-3039651"/>
            <a:ext cx="12192000" cy="6731557"/>
          </a:xfrm>
          <a:prstGeom prst="rect">
            <a:avLst/>
          </a:prstGeom>
        </p:spPr>
      </p:pic>
      <p:pic>
        <p:nvPicPr>
          <p:cNvPr id="24" name="Picture 3">
            <a:extLst>
              <a:ext uri="{FF2B5EF4-FFF2-40B4-BE49-F238E27FC236}">
                <a16:creationId xmlns:a16="http://schemas.microsoft.com/office/drawing/2014/main" id="{82B5A569-DBE5-48DF-962A-FC0D2ACE50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279400" y="326128"/>
            <a:ext cx="2311400" cy="664472"/>
          </a:xfrm>
          <a:prstGeom prst="rect">
            <a:avLst/>
          </a:prstGeom>
        </p:spPr>
      </p:pic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8380" y="2718949"/>
            <a:ext cx="4979161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b="1" spc="200" dirty="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617407"/>
            <a:ext cx="1190625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6CA2F5-CF9C-4F92-8F46-EFC73A160007}"/>
              </a:ext>
            </a:extLst>
          </p:cNvPr>
          <p:cNvGrpSpPr/>
          <p:nvPr userDrawn="1"/>
        </p:nvGrpSpPr>
        <p:grpSpPr>
          <a:xfrm>
            <a:off x="8007409" y="649480"/>
            <a:ext cx="3801423" cy="5717137"/>
            <a:chOff x="7785419" y="452462"/>
            <a:chExt cx="4023413" cy="6071901"/>
          </a:xfrm>
        </p:grpSpPr>
        <p:pic>
          <p:nvPicPr>
            <p:cNvPr id="20" name="Picture 19" descr="A picture containing nature, rain&#10;&#10;Description automatically generated">
              <a:extLst>
                <a:ext uri="{FF2B5EF4-FFF2-40B4-BE49-F238E27FC236}">
                  <a16:creationId xmlns:a16="http://schemas.microsoft.com/office/drawing/2014/main" id="{61E12821-F711-44E1-9D54-02CE6A82AA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489"/>
            <a:stretch/>
          </p:blipFill>
          <p:spPr>
            <a:xfrm>
              <a:off x="7785419" y="1756909"/>
              <a:ext cx="1554413" cy="1391367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C1A106B-F95E-4286-B179-7F0B47031F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421694">
              <a:off x="7819845" y="2805345"/>
              <a:ext cx="1449776" cy="1449776"/>
            </a:xfrm>
            <a:prstGeom prst="rect">
              <a:avLst/>
            </a:prstGeom>
          </p:spPr>
        </p:pic>
        <p:pic>
          <p:nvPicPr>
            <p:cNvPr id="28" name="Picture 27" descr="A picture containing sushi, orange&#10;&#10;Description automatically generated">
              <a:extLst>
                <a:ext uri="{FF2B5EF4-FFF2-40B4-BE49-F238E27FC236}">
                  <a16:creationId xmlns:a16="http://schemas.microsoft.com/office/drawing/2014/main" id="{4485B8CF-99BD-4D8D-BBBE-9446A141CB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130"/>
            <a:stretch/>
          </p:blipFill>
          <p:spPr>
            <a:xfrm>
              <a:off x="9217843" y="5192466"/>
              <a:ext cx="1449776" cy="1331897"/>
            </a:xfrm>
            <a:prstGeom prst="rect">
              <a:avLst/>
            </a:prstGeom>
          </p:spPr>
        </p:pic>
        <p:pic>
          <p:nvPicPr>
            <p:cNvPr id="12" name="Picture 11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CA33B51E-A3B6-4674-8B19-7A3F32868E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028790">
              <a:off x="10364663" y="2497988"/>
              <a:ext cx="1386717" cy="1386717"/>
            </a:xfrm>
            <a:prstGeom prst="rect">
              <a:avLst/>
            </a:prstGeom>
          </p:spPr>
        </p:pic>
        <p:pic>
          <p:nvPicPr>
            <p:cNvPr id="30" name="Picture 29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08DF0ADB-6DD8-4DB1-BCFE-065EFA88B9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028790">
              <a:off x="7802800" y="3975665"/>
              <a:ext cx="1386717" cy="1386717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C0D7EFEF-EED9-4819-B062-86DB654E61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30311" y="4887404"/>
              <a:ext cx="1565789" cy="1565789"/>
            </a:xfrm>
            <a:prstGeom prst="rect">
              <a:avLst/>
            </a:prstGeom>
          </p:spPr>
        </p:pic>
        <p:pic>
          <p:nvPicPr>
            <p:cNvPr id="32" name="Picture 31" descr="A picture containing nature, rain&#10;&#10;Description automatically generated">
              <a:extLst>
                <a:ext uri="{FF2B5EF4-FFF2-40B4-BE49-F238E27FC236}">
                  <a16:creationId xmlns:a16="http://schemas.microsoft.com/office/drawing/2014/main" id="{9189A3A1-272F-41AE-B941-AE019BF7FC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489"/>
            <a:stretch/>
          </p:blipFill>
          <p:spPr>
            <a:xfrm>
              <a:off x="10129850" y="4887404"/>
              <a:ext cx="1554413" cy="1391367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63CEDDB8-068A-4D1C-BEF4-489C9F371D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421694">
              <a:off x="10359056" y="3625584"/>
              <a:ext cx="1449776" cy="1449776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CA38693-C617-4CB8-8285-FD6472A2F8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758262">
              <a:off x="9892780" y="539205"/>
              <a:ext cx="1565789" cy="1565789"/>
            </a:xfrm>
            <a:prstGeom prst="rect">
              <a:avLst/>
            </a:prstGeom>
          </p:spPr>
        </p:pic>
        <p:pic>
          <p:nvPicPr>
            <p:cNvPr id="36" name="Picture 35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CBD95879-EAAE-477A-80ED-4EE6885094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3627908">
              <a:off x="8277893" y="635673"/>
              <a:ext cx="1386717" cy="1386717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56A3E6F-E2A0-4077-AC00-60212BFECC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338035">
              <a:off x="9118189" y="452462"/>
              <a:ext cx="1449776" cy="1449776"/>
            </a:xfrm>
            <a:prstGeom prst="rect">
              <a:avLst/>
            </a:prstGeom>
          </p:spPr>
        </p:pic>
        <p:pic>
          <p:nvPicPr>
            <p:cNvPr id="34" name="Picture 33" descr="A picture containing sushi, orange&#10;&#10;Description automatically generated">
              <a:extLst>
                <a:ext uri="{FF2B5EF4-FFF2-40B4-BE49-F238E27FC236}">
                  <a16:creationId xmlns:a16="http://schemas.microsoft.com/office/drawing/2014/main" id="{4804CB5B-1C95-487C-ADA7-B4E0B97B73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130"/>
            <a:stretch/>
          </p:blipFill>
          <p:spPr>
            <a:xfrm>
              <a:off x="10434997" y="1551373"/>
              <a:ext cx="1313719" cy="1206903"/>
            </a:xfrm>
            <a:prstGeom prst="rect">
              <a:avLst/>
            </a:prstGeom>
          </p:spPr>
        </p:pic>
      </p:grpSp>
      <p:pic>
        <p:nvPicPr>
          <p:cNvPr id="19" name="Picture 15">
            <a:extLst>
              <a:ext uri="{FF2B5EF4-FFF2-40B4-BE49-F238E27FC236}">
                <a16:creationId xmlns:a16="http://schemas.microsoft.com/office/drawing/2014/main" id="{C32C2A12-C0EA-4ECB-8A85-0C3C9DD4EC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78375" y="1879313"/>
            <a:ext cx="1354522" cy="311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25748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1480800" cy="730728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  <a:p>
            <a:pPr lvl="0"/>
            <a:r>
              <a:rPr lang="en-US"/>
              <a:t>Can be used for double lines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93222A-C2BA-4051-914E-3F30CF7B2E4A}"/>
              </a:ext>
            </a:extLst>
          </p:cNvPr>
          <p:cNvCxnSpPr>
            <a:cxnSpLocks/>
          </p:cNvCxnSpPr>
          <p:nvPr userDrawn="1"/>
        </p:nvCxnSpPr>
        <p:spPr>
          <a:xfrm>
            <a:off x="355600" y="1041400"/>
            <a:ext cx="11480800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E2DE98D9-692D-4D5A-B7EE-094123449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E2DFF185-2E58-4E88-AF12-33A8B26E2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1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2AC58960-0761-4A7A-8796-B074C0FFB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C652C831-46C9-4F25-9DF3-68DD7678E9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619420D-D240-4D48-A787-FE6524258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37655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633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1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Slide Number Placeholder 23">
            <a:extLst>
              <a:ext uri="{FF2B5EF4-FFF2-40B4-BE49-F238E27FC236}">
                <a16:creationId xmlns:a16="http://schemas.microsoft.com/office/drawing/2014/main" id="{97C14FDE-0172-4447-99CE-0A57E574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0D227435-919D-4214-8017-853015C643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0728C0F-1C0B-473B-9953-44DDD1A5EC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37655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5935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1"/>
            <a:ext cx="12192000" cy="12181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Slide Number Placeholder 23">
            <a:extLst>
              <a:ext uri="{FF2B5EF4-FFF2-40B4-BE49-F238E27FC236}">
                <a16:creationId xmlns:a16="http://schemas.microsoft.com/office/drawing/2014/main" id="{E773DDD8-AD5A-4182-AF5B-3C9EFE8E8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62677DCA-9481-4543-A4A8-A1630BEBE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38D0908-609A-43C5-A417-55F691B26C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4287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360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2"/>
            <a:ext cx="12192000" cy="1489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41A157-0EA6-47B6-BE48-684AACC88210}"/>
              </a:ext>
            </a:extLst>
          </p:cNvPr>
          <p:cNvSpPr/>
          <p:nvPr userDrawn="1"/>
        </p:nvSpPr>
        <p:spPr>
          <a:xfrm>
            <a:off x="0" y="5368413"/>
            <a:ext cx="12192000" cy="1489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17" name="Slide Number Placeholder 23">
            <a:extLst>
              <a:ext uri="{FF2B5EF4-FFF2-40B4-BE49-F238E27FC236}">
                <a16:creationId xmlns:a16="http://schemas.microsoft.com/office/drawing/2014/main" id="{C7DB4156-10DC-4A46-813F-E4FE77B51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38844CB5-B570-4AC3-A0EC-AA1875798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E857BA-BC5C-4BDE-ADD1-B5C6F051FD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4287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33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372" y="2108200"/>
            <a:ext cx="5283200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607324"/>
            <a:ext cx="1168400" cy="11900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+mj-lt"/>
              </a:rPr>
              <a:t>CONFIDENTIAL</a:t>
            </a:r>
          </a:p>
        </p:txBody>
      </p:sp>
      <p:sp>
        <p:nvSpPr>
          <p:cNvPr id="17" name="Slide Number Placeholder 23">
            <a:extLst>
              <a:ext uri="{FF2B5EF4-FFF2-40B4-BE49-F238E27FC236}">
                <a16:creationId xmlns:a16="http://schemas.microsoft.com/office/drawing/2014/main" id="{C7DB4156-10DC-4A46-813F-E4FE77B51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3981" y="654633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38844CB5-B570-4AC3-A0EC-AA1875798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304800" y="149691"/>
            <a:ext cx="1609245" cy="462619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B8E4B04-9AC1-410C-927F-125B2D12D1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482600"/>
            <a:ext cx="2692400" cy="2743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D2CD378-3C99-43E2-8607-A398F67A0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1581" y="487680"/>
            <a:ext cx="2692400" cy="593852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8DCF0EA-6193-4516-B5B8-E09AA3DBDA6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530600"/>
            <a:ext cx="2692400" cy="2895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2551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stain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ree, plant&#10;&#10;Description automatically generated">
            <a:extLst>
              <a:ext uri="{FF2B5EF4-FFF2-40B4-BE49-F238E27FC236}">
                <a16:creationId xmlns:a16="http://schemas.microsoft.com/office/drawing/2014/main" id="{CA6CA334-2E79-4D6C-93DE-AB825092A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77" r="132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4DED9FD-DED4-44D4-9CED-17EE9E89AB7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2387">
                <a:srgbClr val="E7E6E6">
                  <a:alpha val="60000"/>
                </a:srgbClr>
              </a:gs>
              <a:gs pos="27000">
                <a:schemeClr val="bg2"/>
              </a:gs>
              <a:gs pos="80000">
                <a:schemeClr val="bg2">
                  <a:alpha val="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73CDD90-CEDE-44EB-9B6E-EDB1D020E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1531601" cy="796449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  <a:p>
            <a:pPr lvl="0"/>
            <a:r>
              <a:rPr lang="en-US"/>
              <a:t>Can be used for double lines</a:t>
            </a:r>
            <a:endParaRPr lang="en-IN"/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468E02EC-005F-4BE4-B2CC-F2B3949371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0275" y="6324600"/>
            <a:ext cx="1691116" cy="38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79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23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nature, white, night sky&#10;&#10;Description automatically generated">
            <a:extLst>
              <a:ext uri="{FF2B5EF4-FFF2-40B4-BE49-F238E27FC236}">
                <a16:creationId xmlns:a16="http://schemas.microsoft.com/office/drawing/2014/main" id="{502B50D5-0403-4852-A918-5DEE20B48B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2" y="905653"/>
            <a:ext cx="12192000" cy="5930785"/>
          </a:xfrm>
          <a:prstGeom prst="rect">
            <a:avLst/>
          </a:prstGeom>
        </p:spPr>
      </p:pic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0363201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4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6EC46E8-19A8-4634-B6E8-901A9CA131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0" y="1310322"/>
            <a:ext cx="10363200" cy="5027863"/>
          </a:xfrm>
          <a:prstGeom prst="rect">
            <a:avLst/>
          </a:prstGeom>
        </p:spPr>
        <p:txBody>
          <a:bodyPr lIns="0" rIns="0" anchor="t"/>
          <a:lstStyle>
            <a:lvl1pPr marL="0" indent="0" algn="l">
              <a:buNone/>
              <a:defRPr lang="en-IN" sz="120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E1C1E7F5-9465-4377-B3FC-76EFE8879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2143"/>
          <a:stretch/>
        </p:blipFill>
        <p:spPr>
          <a:xfrm>
            <a:off x="10678134" y="2992351"/>
            <a:ext cx="1513866" cy="3998872"/>
          </a:xfrm>
          <a:prstGeom prst="rect">
            <a:avLst/>
          </a:prstGeom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0BF1BF52-2682-4468-80DA-B9FE2F895E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5085"/>
          <a:stretch/>
        </p:blipFill>
        <p:spPr>
          <a:xfrm>
            <a:off x="10452045" y="-312501"/>
            <a:ext cx="1739955" cy="3873901"/>
          </a:xfrm>
          <a:prstGeom prst="rect">
            <a:avLst/>
          </a:prstGeom>
        </p:spPr>
      </p:pic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27B8243F-85CB-4753-8DD7-BE1E1B2C0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id="{DCE09F1F-DF3C-4749-B694-8F2324E687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488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3F16810-5DD0-4311-8A76-26216C252738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519DE1-6660-44C2-9B8B-16E706858B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066"/>
          <a:stretch/>
        </p:blipFill>
        <p:spPr>
          <a:xfrm>
            <a:off x="1371600" y="215976"/>
            <a:ext cx="10820400" cy="6642024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A2BFD2D-0E6C-436B-889D-E3C3A765BB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7518401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40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3893CE5-719B-42B6-9DD4-BEB10C85B5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0" y="1310322"/>
            <a:ext cx="5740400" cy="5027863"/>
          </a:xfrm>
          <a:prstGeom prst="rect">
            <a:avLst/>
          </a:prstGeom>
        </p:spPr>
        <p:txBody>
          <a:bodyPr lIns="0" rIns="0" anchor="t"/>
          <a:lstStyle>
            <a:lvl1pPr marL="0" indent="0" algn="l">
              <a:buNone/>
              <a:defRPr lang="en-IN" sz="120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35E95DB-144B-4BC8-B197-A72BF212E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498378" y="215976"/>
            <a:ext cx="1609245" cy="46261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517FA7-3E54-4C21-A98C-C940457C67EF}"/>
              </a:ext>
            </a:extLst>
          </p:cNvPr>
          <p:cNvCxnSpPr>
            <a:cxnSpLocks/>
          </p:cNvCxnSpPr>
          <p:nvPr userDrawn="1"/>
        </p:nvCxnSpPr>
        <p:spPr>
          <a:xfrm flipV="1">
            <a:off x="355600" y="1112240"/>
            <a:ext cx="5740401" cy="3076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17">
            <a:extLst>
              <a:ext uri="{FF2B5EF4-FFF2-40B4-BE49-F238E27FC236}">
                <a16:creationId xmlns:a16="http://schemas.microsoft.com/office/drawing/2014/main" id="{27CC3CFB-DA52-49EA-97FD-9835223D0820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93000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71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10BA45-F7AE-2CF4-3BE8-49E1D68BAA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5048" t="8274" r="24218" b="5809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1249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table&#10;&#10;Description automatically generated">
            <a:extLst>
              <a:ext uri="{FF2B5EF4-FFF2-40B4-BE49-F238E27FC236}">
                <a16:creationId xmlns:a16="http://schemas.microsoft.com/office/drawing/2014/main" id="{A6B20D15-DE5D-48C0-B8BE-98565177A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" b="1006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40E5C83-D0EF-41C9-B25A-9036BE3D67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7600" y="5308600"/>
            <a:ext cx="68580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4000" b="1">
                <a:ln>
                  <a:solidFill>
                    <a:schemeClr val="accent1">
                      <a:shade val="50000"/>
                      <a:alpha val="6400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5CF3250-2101-4ED2-B02A-FF110E9978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00" y="5838092"/>
            <a:ext cx="68580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60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F760C52C-F3B2-4C74-94AC-542F4896CDF1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611997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FDF8D7"/>
              </a:gs>
              <a:gs pos="28000">
                <a:schemeClr val="bg1"/>
              </a:gs>
              <a:gs pos="72000">
                <a:srgbClr val="FDF8D7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15" name="Picture 14" descr="A plate of lemons&#10;&#10;Description automatically generated with low confidence">
            <a:extLst>
              <a:ext uri="{FF2B5EF4-FFF2-40B4-BE49-F238E27FC236}">
                <a16:creationId xmlns:a16="http://schemas.microsoft.com/office/drawing/2014/main" id="{305B8EC6-D016-47A1-AD87-C5B278E82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698098"/>
            <a:ext cx="4365453" cy="4365453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5B75F74-CEBA-4D0B-A428-623FD2C94E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ED4FF79-F2A0-4575-A0C1-486791E289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3" name="Picture 3">
            <a:extLst>
              <a:ext uri="{FF2B5EF4-FFF2-40B4-BE49-F238E27FC236}">
                <a16:creationId xmlns:a16="http://schemas.microsoft.com/office/drawing/2014/main" id="{1BD4F3EB-CBB7-49A7-A868-C258360027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36A170A-6C4E-4EE9-A434-BE6649BA45EB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  <p:pic>
        <p:nvPicPr>
          <p:cNvPr id="9" name="Picture 8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BA827291-3ECF-461D-B860-37FB9259D10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682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-1.7284E-6 L 0.00018 0.06513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" y="32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28000">
                <a:schemeClr val="bg1"/>
              </a:gs>
              <a:gs pos="72000">
                <a:srgbClr val="FCC5AA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13" name="Picture 12" descr="A picture containing citrus, fruit, orange, half&#10;&#10;Description automatically generated">
            <a:extLst>
              <a:ext uri="{FF2B5EF4-FFF2-40B4-BE49-F238E27FC236}">
                <a16:creationId xmlns:a16="http://schemas.microsoft.com/office/drawing/2014/main" id="{E6439537-5BDE-4674-9ECC-395CDE192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478" y="633656"/>
            <a:ext cx="4445000" cy="4445000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2E045464-6F97-4EE4-8694-A57A97322163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20EBC86-0DC5-479C-AB19-C8812BF145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C8666C-E785-4D31-AB5B-6C1A5969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5" name="Picture 14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9C76B0F0-10C7-49B4-A1D1-BB27C21098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21D01F89-B501-439D-A25A-6D5717BC35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56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2.34568E-6 L -0.00121 0.05386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1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28000">
                <a:schemeClr val="bg1"/>
              </a:gs>
              <a:gs pos="72000">
                <a:srgbClr val="DFE9AD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A picture containing nature, rain&#10;&#10;Description automatically generated">
            <a:extLst>
              <a:ext uri="{FF2B5EF4-FFF2-40B4-BE49-F238E27FC236}">
                <a16:creationId xmlns:a16="http://schemas.microsoft.com/office/drawing/2014/main" id="{FC34D523-E27D-4D5E-8134-83A9763ECE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6486" y="660400"/>
            <a:ext cx="4546600" cy="4546600"/>
          </a:xfrm>
          <a:prstGeom prst="rect">
            <a:avLst/>
          </a:prstGeom>
        </p:spPr>
      </p:pic>
      <p:sp>
        <p:nvSpPr>
          <p:cNvPr id="13" name="TextBox 17">
            <a:extLst>
              <a:ext uri="{FF2B5EF4-FFF2-40B4-BE49-F238E27FC236}">
                <a16:creationId xmlns:a16="http://schemas.microsoft.com/office/drawing/2014/main" id="{CB9DE1A8-74CD-4EBC-9849-1CCB02EACA68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308AB1-D206-4CAC-9316-5FA54E985A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3FA3692-5CFD-4C3F-AE42-969D372B34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5" name="Picture 14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CC837DAF-A6F5-4156-94EE-F9D8523EE6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84A9C1DF-EA15-468F-923D-39BDA4D69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04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2.22222E-6 L -0.00026 0.04259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28000">
                <a:srgbClr val="F4A2AA"/>
              </a:gs>
              <a:gs pos="72000">
                <a:schemeClr val="accent6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B344A8-F42D-4A90-9BC4-754143BDAA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718417"/>
            <a:ext cx="4140200" cy="4140200"/>
          </a:xfrm>
          <a:prstGeom prst="rect">
            <a:avLst/>
          </a:prstGeom>
        </p:spPr>
      </p:pic>
      <p:pic>
        <p:nvPicPr>
          <p:cNvPr id="6" name="Picture 5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6224FCB5-DD79-4B7D-8500-5B5169EF83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sp>
        <p:nvSpPr>
          <p:cNvPr id="10" name="TextBox 17">
            <a:extLst>
              <a:ext uri="{FF2B5EF4-FFF2-40B4-BE49-F238E27FC236}">
                <a16:creationId xmlns:a16="http://schemas.microsoft.com/office/drawing/2014/main" id="{F623FEA3-6A4A-40E5-8F70-09B35126B155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8E42F84-B82B-4939-9B75-218CFA9A0A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88F974B-CD6C-47A8-A81A-77A2F78D5B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5E2BEB36-9DD5-4895-A4C1-9FC0E97E74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672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2 0.07855 L -0.00312 0.1304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31402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050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1DB7FFB-0514-4ED8-B320-3C5958DF4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539904"/>
            <a:ext cx="4876800" cy="121879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spcBef>
                <a:spcPts val="0"/>
              </a:spcBef>
              <a:buNone/>
              <a:tabLst/>
              <a:defRPr sz="44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FF61DBF5-B6A6-46F1-B618-2D00C743E2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4837" y="4082711"/>
            <a:ext cx="2062327" cy="96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95810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Base-PeP+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6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8CF62913-298D-4A3A-895A-E4D7FE55742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EB672B73-403A-432D-BFC7-AE9B433332D4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E40EDA1A-1770-4988-9A3E-57325F8B11FC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6" name="Rectangle 85">
            <a:hlinkClick r:id="" action="ppaction://noaction"/>
            <a:extLst>
              <a:ext uri="{FF2B5EF4-FFF2-40B4-BE49-F238E27FC236}">
                <a16:creationId xmlns:a16="http://schemas.microsoft.com/office/drawing/2014/main" id="{939A9B91-04AD-4E05-8A47-D1A7C8452C6B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endParaRPr lang="en-GB" sz="800" b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7" name="Rectangle 86">
            <a:hlinkClick r:id="" action="ppaction://noaction"/>
            <a:extLst>
              <a:ext uri="{FF2B5EF4-FFF2-40B4-BE49-F238E27FC236}">
                <a16:creationId xmlns:a16="http://schemas.microsoft.com/office/drawing/2014/main" id="{A0F5AC8F-3CF6-4E2B-B0CD-C48EEF10E2D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8" name="Rectangle 87">
            <a:hlinkClick r:id="" action="ppaction://noaction"/>
            <a:extLst>
              <a:ext uri="{FF2B5EF4-FFF2-40B4-BE49-F238E27FC236}">
                <a16:creationId xmlns:a16="http://schemas.microsoft.com/office/drawing/2014/main" id="{73696A33-7E5D-4F31-8FFC-6DD76ECB2A87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9" name="Rectangle 8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BE4274D9-295C-4257-85A3-CCE74A83C527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CE33E81-AAA9-49D0-AFF3-00995E309745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B79AA2F-7511-4B5D-BF3D-23BE5177674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F437D9E-7B16-4865-891E-506A9F36DB9C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348AAAB-CDC2-4EE8-BFCE-AD29B4B83C8E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B0B46C1B-37C4-4E96-A89C-628666F643DE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id="{6F6ED942-05F7-43B4-BC92-3BFD53192058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69DFAEA4-E5F6-49B2-8610-E5815CBDA667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2BE639AC-5476-4FD0-9F45-775EF51FDDAA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A9252995-26E5-476F-A977-6D9FA77EC977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BA13A009-8F57-47B4-B6F2-DAD5D52ACC34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7638F60-A68F-4741-9026-78AD112F30A1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7086162-B4BF-4AC1-B29A-B2575E3F8FA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787D161-5033-4576-A179-169C99392EDE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536ED49-8E69-42D8-A061-08D7133CF57F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30E1761-B7E4-43F3-9509-2B38081ED3FE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958A50CF-96AF-4F67-A222-FDBDF65402BE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9AAB5C6-278A-4919-8781-16C4C9BC969C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283B1A20-E1C2-4CCA-BA19-02D8DCA6D49F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8FAB82B-5A71-40F7-A8D3-CA4E6876C86A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32B733B-47EA-4B88-8950-40A7BDC86BEE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C1BC727-1ECC-4AB1-990A-70C9B3E850B7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0B742EAB-5EA2-4366-A7C5-F3A1E980CC02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14C4953-C4EA-4B2B-85F2-F9614CBA0BB8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83D7C64-7EDB-4673-88B7-C4A6EA1EF6A2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4ECD1A07-726C-4FAC-AF8A-779EC4DB3C0E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9B23DE3-910B-4A05-91FA-B830F65654D3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59C4096F-18C9-4E46-9F00-D4D8A7FDD986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EE240D6-B769-4332-8AA9-239B43A8A98A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5F83BE3-0772-4679-B745-B82C8569F46B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28A4C074-449D-42DB-9572-8F44F140AD7A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B955EF6C-614F-41FE-9895-338B2627DBE6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DB17ADFE-4148-4ADF-90D3-8CC1166A84F9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4272747-B177-4E0F-9944-464B94753D8B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E3C413E4-B9EB-4B12-9F1A-BA74481EC0C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6522550-CE2F-4F7B-8A32-E1BFCEEF29D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D97BDD66-B965-4DFA-901B-B902B4ACEF3D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A244223-DD8A-4719-943C-C9DEA1EEE1C9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4B63145-4493-4044-880A-1F1DDC255A14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5CF83A57-E57A-411D-BD11-B7F5F999F9C0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5163B5F5-741C-43DA-817A-D4838E380787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6AB888A-210E-4A97-865E-99FA28C32B5F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FF3A098-A6BF-474D-A4C3-0C8F0F6ADC71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BD864B0A-39EC-4F09-9541-51639A9BFC8A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BE5593F5-9CE2-4DE0-92C5-1EE26E889574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66175ED4-0874-4C0D-9C7C-6595139BD439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D9D9DA8-EF83-412D-BFA9-51B41C7705D8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E1CC2A40-FD01-43C2-AD0F-00F67837E3E7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6EF68DC9-6FDA-4CB1-99C7-FD5AABDF02A1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01" name="Rectangle: Rounded Corners 100">
              <a:hlinkClick r:id="" action="ppaction://noaction"/>
              <a:extLst>
                <a:ext uri="{FF2B5EF4-FFF2-40B4-BE49-F238E27FC236}">
                  <a16:creationId xmlns:a16="http://schemas.microsoft.com/office/drawing/2014/main" id="{45BAD32F-7C57-4934-90A5-547E75FC352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2" name="Rectangle: Rounded Corners 101">
              <a:hlinkClick r:id="" action="ppaction://noaction"/>
              <a:extLst>
                <a:ext uri="{FF2B5EF4-FFF2-40B4-BE49-F238E27FC236}">
                  <a16:creationId xmlns:a16="http://schemas.microsoft.com/office/drawing/2014/main" id="{50F7372E-FEC1-489C-BC45-B261038CED33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3" name="Rectangle: Rounded Corners 102">
              <a:hlinkClick r:id="" action="ppaction://noaction"/>
              <a:extLst>
                <a:ext uri="{FF2B5EF4-FFF2-40B4-BE49-F238E27FC236}">
                  <a16:creationId xmlns:a16="http://schemas.microsoft.com/office/drawing/2014/main" id="{15FCEE39-0EAD-427C-B6CE-D2861D50EFA5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97" name="Rectangle 96">
            <a:hlinkClick r:id="" action="ppaction://noaction"/>
            <a:extLst>
              <a:ext uri="{FF2B5EF4-FFF2-40B4-BE49-F238E27FC236}">
                <a16:creationId xmlns:a16="http://schemas.microsoft.com/office/drawing/2014/main" id="{6E18E4C8-19C4-492F-B0F7-2E55F36ED283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81877F37-9FA2-4AE3-94B9-144B441F5DC2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4B9C2ADE-5A3C-4E75-BD44-3DDC9A62E0E7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5730CC7-5E3B-4FF4-9C32-6155A9E38E6B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C5C2C756-4887-4DBC-9325-80D683CDBE5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300038" y="1323077"/>
            <a:ext cx="11591925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7" name="Title 76">
            <a:extLst>
              <a:ext uri="{FF2B5EF4-FFF2-40B4-BE49-F238E27FC236}">
                <a16:creationId xmlns:a16="http://schemas.microsoft.com/office/drawing/2014/main" id="{18A436BD-7AF5-481F-8E93-328F1A4F924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0037" y="296863"/>
            <a:ext cx="11591925" cy="3877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lang="pl-PL" sz="2800" b="1" i="0" kern="1200" dirty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ea typeface="+mn-ea"/>
                <a:cs typeface="Leelawadee" panose="020B0502040204020203" pitchFamily="34" charset="-34"/>
              </a:defRPr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BFEDF0-EADA-4411-9FF7-F85A7F0E7EBC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49878380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189">
          <p15:clr>
            <a:srgbClr val="FBAE40"/>
          </p15:clr>
        </p15:guide>
        <p15:guide id="4" pos="7491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Base-PeP+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3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41AE193C-3E02-4E71-9164-FCB51E1FAE7B}"/>
              </a:ext>
            </a:extLst>
          </p:cNvPr>
          <p:cNvGrpSpPr/>
          <p:nvPr userDrawn="1"/>
        </p:nvGrpSpPr>
        <p:grpSpPr>
          <a:xfrm>
            <a:off x="-433" y="-2180"/>
            <a:ext cx="843047" cy="6860180"/>
            <a:chOff x="-433" y="-2180"/>
            <a:chExt cx="843047" cy="686018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A11ACCD-D2C0-4B60-A5BF-8B8F95A5DD8A}"/>
                </a:ext>
              </a:extLst>
            </p:cNvPr>
            <p:cNvSpPr/>
            <p:nvPr userDrawn="1"/>
          </p:nvSpPr>
          <p:spPr>
            <a:xfrm rot="16200000">
              <a:off x="-711389" y="5304430"/>
              <a:ext cx="2264961" cy="842180"/>
            </a:xfrm>
            <a:prstGeom prst="rect">
              <a:avLst/>
            </a:pr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426DA49-4A1D-4D9A-8EEE-4BC761E803D0}"/>
                </a:ext>
              </a:extLst>
            </p:cNvPr>
            <p:cNvSpPr/>
            <p:nvPr userDrawn="1"/>
          </p:nvSpPr>
          <p:spPr>
            <a:xfrm rot="16200000">
              <a:off x="-470776" y="5548671"/>
              <a:ext cx="1780103" cy="838550"/>
            </a:xfrm>
            <a:custGeom>
              <a:avLst/>
              <a:gdLst>
                <a:gd name="connsiteX0" fmla="*/ 1780103 w 1780103"/>
                <a:gd name="connsiteY0" fmla="*/ 0 h 838550"/>
                <a:gd name="connsiteX1" fmla="*/ 1773789 w 1780103"/>
                <a:gd name="connsiteY1" fmla="*/ 8444 h 838550"/>
                <a:gd name="connsiteX2" fmla="*/ 263954 w 1780103"/>
                <a:gd name="connsiteY2" fmla="*/ 829967 h 838550"/>
                <a:gd name="connsiteX3" fmla="*/ 163651 w 1780103"/>
                <a:gd name="connsiteY3" fmla="*/ 838550 h 838550"/>
                <a:gd name="connsiteX4" fmla="*/ 0 w 1780103"/>
                <a:gd name="connsiteY4" fmla="*/ 838550 h 838550"/>
                <a:gd name="connsiteX5" fmla="*/ 0 w 1780103"/>
                <a:gd name="connsiteY5" fmla="*/ 0 h 838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0103" h="838550">
                  <a:moveTo>
                    <a:pt x="1780103" y="0"/>
                  </a:moveTo>
                  <a:lnTo>
                    <a:pt x="1773789" y="8444"/>
                  </a:lnTo>
                  <a:cubicBezTo>
                    <a:pt x="1404876" y="455463"/>
                    <a:pt x="870248" y="760654"/>
                    <a:pt x="263954" y="829967"/>
                  </a:cubicBezTo>
                  <a:lnTo>
                    <a:pt x="163651" y="838550"/>
                  </a:lnTo>
                  <a:lnTo>
                    <a:pt x="0" y="8385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E2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0B8C6E6-C586-4F5C-B65B-F46B5E5D797E}"/>
                </a:ext>
              </a:extLst>
            </p:cNvPr>
            <p:cNvSpPr/>
            <p:nvPr userDrawn="1"/>
          </p:nvSpPr>
          <p:spPr>
            <a:xfrm>
              <a:off x="-1" y="-2180"/>
              <a:ext cx="838551" cy="2298700"/>
            </a:xfrm>
            <a:prstGeom prst="rect">
              <a:avLst/>
            </a:prstGeom>
            <a:solidFill>
              <a:srgbClr val="FFC4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441711E-6DFB-4FDA-8571-0BFB25421CBA}"/>
                </a:ext>
              </a:extLst>
            </p:cNvPr>
            <p:cNvSpPr/>
            <p:nvPr userDrawn="1"/>
          </p:nvSpPr>
          <p:spPr>
            <a:xfrm rot="16200000">
              <a:off x="-729032" y="3026188"/>
              <a:ext cx="2300248" cy="842180"/>
            </a:xfrm>
            <a:prstGeom prst="rect">
              <a:avLst/>
            </a:prstGeom>
            <a:solidFill>
              <a:srgbClr val="006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8953365-91F1-4F6D-A3EE-D82C649ABF8A}"/>
                </a:ext>
              </a:extLst>
            </p:cNvPr>
            <p:cNvSpPr/>
            <p:nvPr userDrawn="1"/>
          </p:nvSpPr>
          <p:spPr>
            <a:xfrm rot="16200000">
              <a:off x="-295536" y="2592693"/>
              <a:ext cx="1433258" cy="842183"/>
            </a:xfrm>
            <a:custGeom>
              <a:avLst/>
              <a:gdLst>
                <a:gd name="connsiteX0" fmla="*/ 1433258 w 1433258"/>
                <a:gd name="connsiteY0" fmla="*/ 0 h 855327"/>
                <a:gd name="connsiteX1" fmla="*/ 1433258 w 1433258"/>
                <a:gd name="connsiteY1" fmla="*/ 855327 h 855327"/>
                <a:gd name="connsiteX2" fmla="*/ 1408956 w 1433258"/>
                <a:gd name="connsiteY2" fmla="*/ 855327 h 855327"/>
                <a:gd name="connsiteX3" fmla="*/ 0 w 1433258"/>
                <a:gd name="connsiteY3" fmla="*/ 0 h 85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3258" h="855327">
                  <a:moveTo>
                    <a:pt x="1433258" y="0"/>
                  </a:moveTo>
                  <a:lnTo>
                    <a:pt x="1433258" y="855327"/>
                  </a:lnTo>
                  <a:lnTo>
                    <a:pt x="1408956" y="855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F73D5CE-CC04-4409-AB0F-DD4549864671}"/>
                </a:ext>
              </a:extLst>
            </p:cNvPr>
            <p:cNvSpPr/>
            <p:nvPr userDrawn="1"/>
          </p:nvSpPr>
          <p:spPr>
            <a:xfrm>
              <a:off x="-433" y="0"/>
              <a:ext cx="843047" cy="2298700"/>
            </a:xfrm>
            <a:custGeom>
              <a:avLst/>
              <a:gdLst>
                <a:gd name="connsiteX0" fmla="*/ 0 w 873660"/>
                <a:gd name="connsiteY0" fmla="*/ 0 h 2298700"/>
                <a:gd name="connsiteX1" fmla="*/ 873660 w 873660"/>
                <a:gd name="connsiteY1" fmla="*/ 0 h 2298700"/>
                <a:gd name="connsiteX2" fmla="*/ 873660 w 873660"/>
                <a:gd name="connsiteY2" fmla="*/ 2298700 h 2298700"/>
                <a:gd name="connsiteX3" fmla="*/ 0 w 873660"/>
                <a:gd name="connsiteY3" fmla="*/ 2298700 h 2298700"/>
                <a:gd name="connsiteX4" fmla="*/ 0 w 873660"/>
                <a:gd name="connsiteY4" fmla="*/ 1797162 h 2298700"/>
                <a:gd name="connsiteX5" fmla="*/ 29186 w 873660"/>
                <a:gd name="connsiteY5" fmla="*/ 1775338 h 2298700"/>
                <a:gd name="connsiteX6" fmla="*/ 865699 w 873660"/>
                <a:gd name="connsiteY6" fmla="*/ 1549 h 2298700"/>
                <a:gd name="connsiteX7" fmla="*/ 0 w 873660"/>
                <a:gd name="connsiteY7" fmla="*/ 1549 h 22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3660" h="2298700">
                  <a:moveTo>
                    <a:pt x="0" y="0"/>
                  </a:moveTo>
                  <a:lnTo>
                    <a:pt x="873660" y="0"/>
                  </a:lnTo>
                  <a:lnTo>
                    <a:pt x="873660" y="2298700"/>
                  </a:lnTo>
                  <a:lnTo>
                    <a:pt x="0" y="2298700"/>
                  </a:lnTo>
                  <a:lnTo>
                    <a:pt x="0" y="1797162"/>
                  </a:lnTo>
                  <a:lnTo>
                    <a:pt x="29186" y="1775338"/>
                  </a:lnTo>
                  <a:cubicBezTo>
                    <a:pt x="540065" y="1353722"/>
                    <a:pt x="865699" y="715664"/>
                    <a:pt x="865699" y="1549"/>
                  </a:cubicBezTo>
                  <a:lnTo>
                    <a:pt x="0" y="1549"/>
                  </a:lnTo>
                  <a:close/>
                </a:path>
              </a:pathLst>
            </a:cu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C70A6FA-494A-4E9A-947A-2291668C5A68}"/>
                </a:ext>
              </a:extLst>
            </p:cNvPr>
            <p:cNvSpPr/>
            <p:nvPr userDrawn="1"/>
          </p:nvSpPr>
          <p:spPr>
            <a:xfrm>
              <a:off x="0" y="1"/>
              <a:ext cx="827060" cy="171741"/>
            </a:xfrm>
            <a:custGeom>
              <a:avLst/>
              <a:gdLst>
                <a:gd name="connsiteX0" fmla="*/ 0 w 800000"/>
                <a:gd name="connsiteY0" fmla="*/ 0 h 174984"/>
                <a:gd name="connsiteX1" fmla="*/ 800000 w 800000"/>
                <a:gd name="connsiteY1" fmla="*/ 0 h 174984"/>
                <a:gd name="connsiteX2" fmla="*/ 656959 w 800000"/>
                <a:gd name="connsiteY2" fmla="*/ 7223 h 174984"/>
                <a:gd name="connsiteX3" fmla="*/ 208425 w 800000"/>
                <a:gd name="connsiteY3" fmla="*/ 98700 h 174984"/>
                <a:gd name="connsiteX4" fmla="*/ 0 w 800000"/>
                <a:gd name="connsiteY4" fmla="*/ 174984 h 174984"/>
                <a:gd name="connsiteX5" fmla="*/ 0 w 800000"/>
                <a:gd name="connsiteY5" fmla="*/ 0 h 17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0000" h="174984">
                  <a:moveTo>
                    <a:pt x="0" y="0"/>
                  </a:moveTo>
                  <a:lnTo>
                    <a:pt x="800000" y="0"/>
                  </a:lnTo>
                  <a:lnTo>
                    <a:pt x="656959" y="7223"/>
                  </a:lnTo>
                  <a:cubicBezTo>
                    <a:pt x="502408" y="22918"/>
                    <a:pt x="352383" y="53924"/>
                    <a:pt x="208425" y="98700"/>
                  </a:cubicBezTo>
                  <a:lnTo>
                    <a:pt x="0" y="1749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8BDE832-F45A-42CD-81EE-6B4384BECD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7125" y="1323077"/>
            <a:ext cx="10764837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9FCE2A-9753-4545-A158-BD1998A6C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3517" y="296863"/>
            <a:ext cx="10768445" cy="3877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lang="pl-PL" sz="2800" b="1" i="0" kern="1200" dirty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ea typeface="+mn-ea"/>
                <a:cs typeface="Leelawadee" panose="020B0502040204020203" pitchFamily="34" charset="-34"/>
              </a:defRPr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196F8FD-2DB2-4BEC-8C23-D5B9E899C4AE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67FFE990-C28C-46D3-8237-7FF55858B44A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169">
            <a:extLst>
              <a:ext uri="{FF2B5EF4-FFF2-40B4-BE49-F238E27FC236}">
                <a16:creationId xmlns:a16="http://schemas.microsoft.com/office/drawing/2014/main" id="{C48AFF10-1546-4780-8419-38693288A1FD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208" name="Rectangle 207">
            <a:hlinkClick r:id="" action="ppaction://noaction"/>
            <a:extLst>
              <a:ext uri="{FF2B5EF4-FFF2-40B4-BE49-F238E27FC236}">
                <a16:creationId xmlns:a16="http://schemas.microsoft.com/office/drawing/2014/main" id="{DF9E46A6-AB95-4FFE-8E79-829B6BCB9D96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endParaRPr lang="en-GB" sz="800" b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0" name="Rectangle 209">
            <a:hlinkClick r:id="" action="ppaction://noaction"/>
            <a:extLst>
              <a:ext uri="{FF2B5EF4-FFF2-40B4-BE49-F238E27FC236}">
                <a16:creationId xmlns:a16="http://schemas.microsoft.com/office/drawing/2014/main" id="{3D649761-33E5-4CC7-8AA8-E67031581F73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1" name="Rectangle 210">
            <a:hlinkClick r:id="" action="ppaction://noaction"/>
            <a:extLst>
              <a:ext uri="{FF2B5EF4-FFF2-40B4-BE49-F238E27FC236}">
                <a16:creationId xmlns:a16="http://schemas.microsoft.com/office/drawing/2014/main" id="{8DA402D8-8F30-4D7E-BCAA-DC8C1170108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2" name="Rectangle 21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B627BCE0-AB58-4188-A1D0-C2E22239E599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187D52BA-BDE3-415A-AEFB-83CC1724F62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F8642A9C-6F6A-4ED1-BED4-9AF84CA129F5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C1B97F16-3396-4342-801B-3DBEDB58DCC8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EE468229-F79B-496A-BFC1-68C828600411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8B1D5755-ADCB-472C-85AE-458992AD688F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5B2B6E0C-D500-4A56-B6B8-2C6547905786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603F098-5D88-4FE1-AA36-1FD7A7E6E091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CF6F68CE-AABE-4486-920B-AAE6C04D37A6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4CD57F0-B8C5-4A4E-8D94-A66B166798B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FE126DE7-1FFD-40AA-8223-8DC5E5D3255C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B4358C46-F35C-4880-824C-A4D50C1E2A87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3A994DF6-054F-40F6-869D-5DCF92AF54E8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96BDED57-2C5E-4269-B465-D1303724C33A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901F0EBD-5060-47E5-8380-3A634030A4BD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7621378C-C8E7-4BCC-955E-2148BC1DF58F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F71DD78F-FBB0-4927-898A-0296C1ACD77D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21265FB2-1A9C-4F0B-93E0-E5D30113C2F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D8CABE6E-BE2F-4B63-A88E-93C7C6FB2FA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F6B78197-0C1C-4179-B8FC-55C4891964DC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A4C586C-8502-4947-8EA9-1C9F35A35EF4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3A35EDBC-7B64-4E47-BBC2-2F7872C18374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1CC412CC-E534-4A2D-A48F-BD138ED3B592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1C44DB8B-7A13-4663-9E37-285C405E8642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E63ECC55-4C52-4424-99B0-984AEDB09B41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893D4198-394F-4D61-97B2-E50A67E56986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3205DAAF-7DAC-4BE2-8B29-FE1C526D2316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ABB58A2B-B001-490A-932A-7BD5D2D35F77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8378B23-3116-4604-8A2C-4C877BBD94B9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5BAEB80C-9E13-41F4-B45C-054756A069B2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239C94DB-A143-4D0D-94F3-A85ADBB1437C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FBFE9D7D-DA7D-4037-B7E5-C1321AF940E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490D02C7-1AF2-42A7-BB54-88D12324180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730242BF-E15D-40B1-B50C-D9CC266C93F5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6F1CAE5C-E91F-43B9-86AB-5131C965F75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81829E6F-547F-4843-B0F7-77398EAD38DD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70026134-4A73-4706-9353-44FE68C290F0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8EB5B13E-B93F-4CDA-AE43-FBD8AE126B5C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8D06C89-3215-4536-9D25-B64C0E2F649F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6657FD92-8E11-4CCF-B833-0CB577250E05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57F2DFD0-5700-46B3-A274-136FDC130C8A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4B23D51E-11B9-4298-AE92-BDB221D51BDD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168A6792-EEEF-4E98-ABAC-EBB45FF4AD91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758036A5-8937-4775-B3F1-C2B639AF46A7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F464DE81-AC7E-4A0A-BC6D-B5CE633BCBA9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96A411E5-C801-4AB5-A640-45055F227504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AF868D36-759F-4F5C-9843-A8DD7B721928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90A31ECB-A0E0-4743-8567-7936BE4BF0F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7FD5BE93-B7CE-4247-9C24-241DCAE506B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261" name="Rectangle: Rounded Corners 260">
              <a:hlinkClick r:id="" action="ppaction://noaction"/>
              <a:extLst>
                <a:ext uri="{FF2B5EF4-FFF2-40B4-BE49-F238E27FC236}">
                  <a16:creationId xmlns:a16="http://schemas.microsoft.com/office/drawing/2014/main" id="{BA5447F8-5114-41D7-9B28-4952B8903B6A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62" name="Rectangle: Rounded Corners 261">
              <a:hlinkClick r:id="" action="ppaction://noaction"/>
              <a:extLst>
                <a:ext uri="{FF2B5EF4-FFF2-40B4-BE49-F238E27FC236}">
                  <a16:creationId xmlns:a16="http://schemas.microsoft.com/office/drawing/2014/main" id="{4974754A-40E9-45AA-8B8C-44BB00AC4DF7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63" name="Rectangle: Rounded Corners 262">
              <a:hlinkClick r:id="" action="ppaction://noaction"/>
              <a:extLst>
                <a:ext uri="{FF2B5EF4-FFF2-40B4-BE49-F238E27FC236}">
                  <a16:creationId xmlns:a16="http://schemas.microsoft.com/office/drawing/2014/main" id="{DAD5D081-1B41-48B4-A6C6-C19DEC6A196D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264" name="Rectangle 263">
            <a:hlinkClick r:id="" action="ppaction://noaction"/>
            <a:extLst>
              <a:ext uri="{FF2B5EF4-FFF2-40B4-BE49-F238E27FC236}">
                <a16:creationId xmlns:a16="http://schemas.microsoft.com/office/drawing/2014/main" id="{D79E72D0-871A-49F5-8F30-600BE296E8BD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7A792D39-53EB-498E-A63C-305E3B41123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tangle 26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E24F22F4-01EF-4588-AD65-4A804A00387C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4CD627D6-26D0-49B8-80E8-3E4FE6979E04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D863F2C3-2D17-4313-88B1-5237A08FA1DB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328428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491">
          <p15:clr>
            <a:srgbClr val="FBAE40"/>
          </p15:clr>
        </p15:guide>
        <p15:guide id="3" pos="710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Divider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9E3986C-FFEC-4BCF-BE64-3B7C69B5A0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46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9E3986C-FFEC-4BCF-BE64-3B7C69B5A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ECCBDA21-3720-EC48-BB2A-E186AD6135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7513816" cy="6858000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D8A1AD-2A55-40D6-9961-7AEECC947517}"/>
              </a:ext>
            </a:extLst>
          </p:cNvPr>
          <p:cNvSpPr/>
          <p:nvPr userDrawn="1"/>
        </p:nvSpPr>
        <p:spPr>
          <a:xfrm rot="10800000" flipH="1">
            <a:off x="1" y="-772"/>
            <a:ext cx="6869788" cy="6869788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3904CC-5FA5-4420-B614-89FB0EB2BC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133"/>
          <a:stretch/>
        </p:blipFill>
        <p:spPr>
          <a:xfrm>
            <a:off x="0" y="0"/>
            <a:ext cx="7513816" cy="6857999"/>
          </a:xfrm>
          <a:prstGeom prst="rect">
            <a:avLst/>
          </a:prstGeom>
        </p:spPr>
      </p:pic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3222F2CE-1766-43CF-AF43-673D3F16F9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966F592-F50D-44F7-A9B5-4DE157419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734A3B-C696-4720-A17E-AA25DBB691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51365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24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DF1BD5F-C8CF-79FD-DA82-CF52C806E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565" t="1080" r="26975" b="2641"/>
          <a:stretch/>
        </p:blipFill>
        <p:spPr>
          <a:xfrm>
            <a:off x="0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834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Divider">
    <p:bg>
      <p:bgPr>
        <a:solidFill>
          <a:srgbClr val="5A97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28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3A1BF7-83F1-4077-9AB0-FEE031D7F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29" r="19037"/>
          <a:stretch/>
        </p:blipFill>
        <p:spPr>
          <a:xfrm>
            <a:off x="-14211" y="-8932"/>
            <a:ext cx="7478038" cy="6858000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1917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89547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1956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Divider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47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D2B39F-F348-4166-9331-748E9DBE76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02" y="114300"/>
            <a:ext cx="7373435" cy="674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213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ub-Divider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0993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EAF1F-EF5A-4E4F-8B4B-967ECBB8264E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5768F3-71F1-4DF0-B686-E0F881C01912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B8E4DE-97B8-4681-982E-ADB24A8444AC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62C860-692A-4D90-9165-00938B731278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778CD25-16D5-4545-AA64-C54B990296A7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360BD2DA-036B-4188-8971-A0E477C28632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E4D2C27-C255-4E7C-958F-F974E6423A21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BC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21292C8-517F-449B-937E-CB52015C4AE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3C9DEEA-65E3-410D-B9D7-B7571D824B16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90B156-20E6-4219-92F6-B4EB13B4954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270F2D2-C833-4056-B9C6-92CC2DF76DEE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B020F72A-CDD9-48E6-9B5B-86F6D735E491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BC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3D15B0BC-6A43-4216-AE94-804BD48B303B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57257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ub-Sub-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70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39387711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Divider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801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A8C6288-2571-4D28-9F32-FC8576185BAE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pic>
        <p:nvPicPr>
          <p:cNvPr id="4" name="Picture 3" descr="A picture containing text, sky, outdoor, sign&#10;&#10;Description automatically generated">
            <a:extLst>
              <a:ext uri="{FF2B5EF4-FFF2-40B4-BE49-F238E27FC236}">
                <a16:creationId xmlns:a16="http://schemas.microsoft.com/office/drawing/2014/main" id="{98742D09-FACE-441C-906F-EC1348849D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03" b="7494"/>
          <a:stretch/>
        </p:blipFill>
        <p:spPr>
          <a:xfrm>
            <a:off x="0" y="0"/>
            <a:ext cx="7478038" cy="685800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7A4204A-92E2-473A-979D-9E45248E7FD2}"/>
              </a:ext>
            </a:extLst>
          </p:cNvPr>
          <p:cNvSpPr/>
          <p:nvPr userDrawn="1"/>
        </p:nvSpPr>
        <p:spPr>
          <a:xfrm rot="162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6" name="Picture 5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4DDE1645-3A4D-42A5-913B-DEA792972B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398" t="3469" r="18481" b="28307"/>
          <a:stretch/>
        </p:blipFill>
        <p:spPr>
          <a:xfrm>
            <a:off x="1600199" y="-2"/>
            <a:ext cx="4495801" cy="524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95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ub-Divider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338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56A39B-AEE3-4A36-9B78-C6D8444FC4FB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0C1458-F91C-42F6-A58A-1557B900C99D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F23975-8EEB-4CCB-810E-3FF5C90F0B20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31621E-35DA-4AA2-8F73-867A4F528C05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27C2D0C-EFDB-46A7-9D43-089C57D1E59A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976955E-701B-44AE-A68D-98818B963A07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D56A1EA-FC5E-4993-AB05-118189343C56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E9A814E-EF2F-4F25-987E-2BE2D55CFB4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BB2655B-D5D6-4A1D-B4B8-2956811AF737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8977600-7B37-4D66-9510-62AFD35D16C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1D6B52-EB68-4E52-8C05-C86E770A45AD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16CDE59-A17D-4E82-A34F-000BDFB1796E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162260A0-375C-4496-A48B-157CBE32291C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253701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ub-Sub-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47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1427611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(Woman smiling) 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6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4316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DB7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pic>
        <p:nvPicPr>
          <p:cNvPr id="9" name="Picture 8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14D423CC-B1D8-4141-9159-9656653D1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66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Sub-Divider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035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56A39B-AEE3-4A36-9B78-C6D8444FC4FB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0C1458-F91C-42F6-A58A-1557B900C99D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F23975-8EEB-4CCB-810E-3FF5C90F0B20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31621E-35DA-4AA2-8F73-867A4F528C05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27C2D0C-EFDB-46A7-9D43-089C57D1E59A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976955E-701B-44AE-A68D-98818B963A07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D56A1EA-FC5E-4993-AB05-118189343C56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E9A814E-EF2F-4F25-987E-2BE2D55CFB4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BB2655B-D5D6-4A1D-B4B8-2956811AF737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8977600-7B37-4D66-9510-62AFD35D16C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1D6B52-EB68-4E52-8C05-C86E770A45AD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16CDE59-A17D-4E82-A34F-000BDFB1796E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162260A0-375C-4496-A48B-157CBE32291C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816728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Woman smiling) 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74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451B81-1027-4982-9013-959EF68B14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84"/>
          <a:stretch/>
        </p:blipFill>
        <p:spPr>
          <a:xfrm>
            <a:off x="-1" y="0"/>
            <a:ext cx="7482317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4316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DB7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81466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image" Target="../media/image122.emf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oleObject" Target="../embeddings/oleObject67.bin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tags" Target="../tags/tag69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image" Target="../media/image159.png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image" Target="../media/image160.svg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4F95AF-2496-4632-A158-835CEA47C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734795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443" imgH="443" progId="TCLayout.ActiveDocument.1">
                  <p:embed/>
                </p:oleObj>
              </mc:Choice>
              <mc:Fallback>
                <p:oleObj name="think-cell Slide" r:id="rId69" imgW="443" imgH="4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4F95AF-2496-4632-A158-835CEA47C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01FD0BA-3AA9-459F-A2B0-5B0986A4C2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661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655" r:id="rId2"/>
    <p:sldLayoutId id="2147483720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21" r:id="rId11"/>
    <p:sldLayoutId id="2147483760" r:id="rId12"/>
    <p:sldLayoutId id="2147483784" r:id="rId13"/>
    <p:sldLayoutId id="2147483715" r:id="rId14"/>
    <p:sldLayoutId id="2147483708" r:id="rId15"/>
    <p:sldLayoutId id="2147483761" r:id="rId16"/>
    <p:sldLayoutId id="2147483754" r:id="rId17"/>
    <p:sldLayoutId id="2147483724" r:id="rId18"/>
    <p:sldLayoutId id="2147483682" r:id="rId19"/>
    <p:sldLayoutId id="2147483704" r:id="rId20"/>
    <p:sldLayoutId id="2147483763" r:id="rId21"/>
    <p:sldLayoutId id="2147483811" r:id="rId22"/>
    <p:sldLayoutId id="2147483809" r:id="rId23"/>
    <p:sldLayoutId id="2147483815" r:id="rId24"/>
    <p:sldLayoutId id="2147483814" r:id="rId25"/>
    <p:sldLayoutId id="2147483764" r:id="rId26"/>
    <p:sldLayoutId id="2147483765" r:id="rId27"/>
    <p:sldLayoutId id="2147483766" r:id="rId28"/>
    <p:sldLayoutId id="2147483668" r:id="rId29"/>
    <p:sldLayoutId id="2147483771" r:id="rId30"/>
    <p:sldLayoutId id="2147483769" r:id="rId31"/>
    <p:sldLayoutId id="2147483770" r:id="rId32"/>
    <p:sldLayoutId id="2147483768" r:id="rId33"/>
    <p:sldLayoutId id="2147483767" r:id="rId34"/>
    <p:sldLayoutId id="2147483787" r:id="rId35"/>
    <p:sldLayoutId id="2147483788" r:id="rId36"/>
    <p:sldLayoutId id="2147483810" r:id="rId37"/>
    <p:sldLayoutId id="2147483789" r:id="rId38"/>
    <p:sldLayoutId id="2147483762" r:id="rId39"/>
    <p:sldLayoutId id="2147483676" r:id="rId40"/>
    <p:sldLayoutId id="2147483727" r:id="rId41"/>
    <p:sldLayoutId id="2147483706" r:id="rId42"/>
    <p:sldLayoutId id="2147483756" r:id="rId43"/>
    <p:sldLayoutId id="2147483757" r:id="rId44"/>
    <p:sldLayoutId id="2147483758" r:id="rId45"/>
    <p:sldLayoutId id="2147483680" r:id="rId46"/>
    <p:sldLayoutId id="2147483688" r:id="rId47"/>
    <p:sldLayoutId id="2147483703" r:id="rId48"/>
    <p:sldLayoutId id="2147483772" r:id="rId49"/>
    <p:sldLayoutId id="2147483773" r:id="rId50"/>
    <p:sldLayoutId id="2147483785" r:id="rId51"/>
    <p:sldLayoutId id="2147483774" r:id="rId52"/>
    <p:sldLayoutId id="2147483775" r:id="rId53"/>
    <p:sldLayoutId id="2147483776" r:id="rId54"/>
    <p:sldLayoutId id="2147483777" r:id="rId55"/>
    <p:sldLayoutId id="2147483778" r:id="rId56"/>
    <p:sldLayoutId id="2147483779" r:id="rId57"/>
    <p:sldLayoutId id="2147483780" r:id="rId58"/>
    <p:sldLayoutId id="2147483781" r:id="rId59"/>
    <p:sldLayoutId id="2147483782" r:id="rId60"/>
    <p:sldLayoutId id="2147483783" r:id="rId61"/>
    <p:sldLayoutId id="2147483744" r:id="rId62"/>
    <p:sldLayoutId id="2147483786" r:id="rId63"/>
    <p:sldLayoutId id="2147483753" r:id="rId64"/>
    <p:sldLayoutId id="2147483673" r:id="rId65"/>
    <p:sldLayoutId id="2147483801" r:id="rId6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33CC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tabLst/>
        <a:defRPr sz="2800" kern="1200">
          <a:solidFill>
            <a:srgbClr val="133CCF"/>
          </a:solidFill>
          <a:latin typeface="+mn-lt"/>
          <a:ea typeface="+mn-ea"/>
          <a:cs typeface="+mn-cs"/>
        </a:defRPr>
      </a:lvl1pPr>
      <a:lvl2pPr marL="344488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Courier New" panose="02070309020205020404" pitchFamily="49" charset="0"/>
        <a:buChar char="o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2pPr>
      <a:lvl3pPr marL="517525" indent="-173038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3pPr>
      <a:lvl4pPr marL="690563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Wingdings" pitchFamily="2" charset="2"/>
        <a:buChar char="q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4pPr>
      <a:lvl5pPr marL="863600" indent="-173038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Wingdings" pitchFamily="2" charset="2"/>
        <a:buChar char="v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6" userDrawn="1">
          <p15:clr>
            <a:srgbClr val="F26B43"/>
          </p15:clr>
        </p15:guide>
        <p15:guide id="2" pos="7304" userDrawn="1">
          <p15:clr>
            <a:srgbClr val="F26B43"/>
          </p15:clr>
        </p15:guide>
        <p15:guide id="3" orient="horz" pos="4056" userDrawn="1">
          <p15:clr>
            <a:srgbClr val="F26B43"/>
          </p15:clr>
        </p15:guide>
        <p15:guide id="4" orient="horz" pos="6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D812B6-E6FD-4736-B1A0-626F8CA6130D}"/>
              </a:ext>
            </a:extLst>
          </p:cNvPr>
          <p:cNvSpPr/>
          <p:nvPr userDrawn="1"/>
        </p:nvSpPr>
        <p:spPr>
          <a:xfrm>
            <a:off x="12274974" y="999067"/>
            <a:ext cx="406400" cy="457200"/>
          </a:xfrm>
          <a:prstGeom prst="rect">
            <a:avLst/>
          </a:prstGeom>
          <a:solidFill>
            <a:srgbClr val="FBF1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0CAC90-82FA-4C22-B033-1858C523192F}"/>
              </a:ext>
            </a:extLst>
          </p:cNvPr>
          <p:cNvSpPr/>
          <p:nvPr userDrawn="1"/>
        </p:nvSpPr>
        <p:spPr>
          <a:xfrm>
            <a:off x="12274974" y="1498600"/>
            <a:ext cx="406400" cy="457200"/>
          </a:xfrm>
          <a:prstGeom prst="rect">
            <a:avLst/>
          </a:prstGeom>
          <a:solidFill>
            <a:srgbClr val="D3E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5AA6F3-60DC-4CC3-A715-8A72B9EDE31E}"/>
              </a:ext>
            </a:extLst>
          </p:cNvPr>
          <p:cNvSpPr/>
          <p:nvPr userDrawn="1"/>
        </p:nvSpPr>
        <p:spPr>
          <a:xfrm>
            <a:off x="12274974" y="1998133"/>
            <a:ext cx="406400" cy="457200"/>
          </a:xfrm>
          <a:prstGeom prst="rect">
            <a:avLst/>
          </a:prstGeom>
          <a:solidFill>
            <a:srgbClr val="FAA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9A5C3A-A1A1-4707-B380-41492E2702CC}"/>
              </a:ext>
            </a:extLst>
          </p:cNvPr>
          <p:cNvSpPr/>
          <p:nvPr userDrawn="1"/>
        </p:nvSpPr>
        <p:spPr>
          <a:xfrm>
            <a:off x="12274974" y="2497667"/>
            <a:ext cx="406400" cy="457200"/>
          </a:xfrm>
          <a:prstGeom prst="rect">
            <a:avLst/>
          </a:prstGeom>
          <a:solidFill>
            <a:srgbClr val="EA4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42668D-9449-4EEC-8ABC-3066145EA1E2}"/>
              </a:ext>
            </a:extLst>
          </p:cNvPr>
          <p:cNvSpPr/>
          <p:nvPr userDrawn="1"/>
        </p:nvSpPr>
        <p:spPr>
          <a:xfrm>
            <a:off x="12274974" y="0"/>
            <a:ext cx="406400" cy="457200"/>
          </a:xfrm>
          <a:prstGeom prst="rect">
            <a:avLst/>
          </a:prstGeom>
          <a:solidFill>
            <a:srgbClr val="8182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47992D-D1C4-4C87-BF33-D272978ADFA6}"/>
              </a:ext>
            </a:extLst>
          </p:cNvPr>
          <p:cNvSpPr/>
          <p:nvPr userDrawn="1"/>
        </p:nvSpPr>
        <p:spPr>
          <a:xfrm>
            <a:off x="12274974" y="499533"/>
            <a:ext cx="406400" cy="457200"/>
          </a:xfrm>
          <a:prstGeom prst="rect">
            <a:avLst/>
          </a:prstGeom>
          <a:solidFill>
            <a:srgbClr val="BDB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FE726A-1997-4755-BAC2-A02982F9C1DA}"/>
              </a:ext>
            </a:extLst>
          </p:cNvPr>
          <p:cNvSpPr/>
          <p:nvPr userDrawn="1"/>
        </p:nvSpPr>
        <p:spPr>
          <a:xfrm>
            <a:off x="12272965" y="2997199"/>
            <a:ext cx="406400" cy="457200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</p:spTree>
    <p:extLst>
      <p:ext uri="{BB962C8B-B14F-4D97-AF65-F5344CB8AC3E}">
        <p14:creationId xmlns:p14="http://schemas.microsoft.com/office/powerpoint/2010/main" val="91842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900" r:id="rId16"/>
    <p:sldLayoutId id="2147483901" r:id="rId17"/>
    <p:sldLayoutId id="2147483902" r:id="rId18"/>
    <p:sldLayoutId id="2147483903" r:id="rId19"/>
  </p:sldLayoutIdLst>
  <p:txStyles>
    <p:titleStyle>
      <a:lvl1pPr algn="l" defTabSz="609630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8" indent="-152408" algn="l" defTabSz="60963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orient="horz" pos="6120">
          <p15:clr>
            <a:srgbClr val="F26B43"/>
          </p15:clr>
        </p15:guide>
        <p15:guide id="3" orient="horz" pos="360">
          <p15:clr>
            <a:srgbClr val="F26B43"/>
          </p15:clr>
        </p15:guide>
        <p15:guide id="4" pos="5760">
          <p15:clr>
            <a:srgbClr val="F26B43"/>
          </p15:clr>
        </p15:guide>
        <p15:guide id="5" orient="horz" pos="32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0703A8-6350-4708-9AC8-A48C7D466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92282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5" imgH="416" progId="TCLayout.ActiveDocument.1">
                  <p:embed/>
                </p:oleObj>
              </mc:Choice>
              <mc:Fallback>
                <p:oleObj name="think-cell Slide" r:id="rId38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0703A8-6350-4708-9AC8-A48C7D466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8638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59" r:id="rId2"/>
    <p:sldLayoutId id="2147484260" r:id="rId3"/>
    <p:sldLayoutId id="2147484261" r:id="rId4"/>
    <p:sldLayoutId id="2147484262" r:id="rId5"/>
    <p:sldLayoutId id="2147484263" r:id="rId6"/>
    <p:sldLayoutId id="2147484264" r:id="rId7"/>
    <p:sldLayoutId id="2147484265" r:id="rId8"/>
    <p:sldLayoutId id="2147484266" r:id="rId9"/>
    <p:sldLayoutId id="2147484267" r:id="rId10"/>
    <p:sldLayoutId id="2147484268" r:id="rId11"/>
    <p:sldLayoutId id="2147484269" r:id="rId12"/>
    <p:sldLayoutId id="2147484270" r:id="rId13"/>
    <p:sldLayoutId id="2147484271" r:id="rId14"/>
    <p:sldLayoutId id="2147484272" r:id="rId15"/>
    <p:sldLayoutId id="2147484273" r:id="rId16"/>
    <p:sldLayoutId id="2147484274" r:id="rId17"/>
    <p:sldLayoutId id="2147484275" r:id="rId18"/>
    <p:sldLayoutId id="2147484276" r:id="rId19"/>
    <p:sldLayoutId id="2147484277" r:id="rId20"/>
    <p:sldLayoutId id="2147484278" r:id="rId21"/>
    <p:sldLayoutId id="2147484279" r:id="rId22"/>
    <p:sldLayoutId id="2147484280" r:id="rId23"/>
    <p:sldLayoutId id="2147484281" r:id="rId24"/>
    <p:sldLayoutId id="2147484282" r:id="rId25"/>
    <p:sldLayoutId id="2147484283" r:id="rId26"/>
    <p:sldLayoutId id="2147484284" r:id="rId27"/>
    <p:sldLayoutId id="2147484285" r:id="rId28"/>
    <p:sldLayoutId id="2147484286" r:id="rId29"/>
    <p:sldLayoutId id="2147484287" r:id="rId30"/>
    <p:sldLayoutId id="2147484288" r:id="rId31"/>
    <p:sldLayoutId id="2147484289" r:id="rId32"/>
    <p:sldLayoutId id="2147484290" r:id="rId33"/>
    <p:sldLayoutId id="2147484291" r:id="rId34"/>
    <p:sldLayoutId id="2147484292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1F3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C4F1B2-C409-4C13-9490-4AC2ED5BA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600200"/>
            <a:ext cx="5905500" cy="44243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6CBCCF8-7317-D425-044B-87972013E74B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AD74610-525F-7E94-8E92-C6C2D0880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59055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object 17">
            <a:extLst>
              <a:ext uri="{FF2B5EF4-FFF2-40B4-BE49-F238E27FC236}">
                <a16:creationId xmlns:a16="http://schemas.microsoft.com/office/drawing/2014/main" id="{20C45D39-6A1A-D2A5-5E8F-0BC655E1AD9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rgbClr val="001D90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rgbClr val="001D90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14" name="object 17">
            <a:extLst>
              <a:ext uri="{FF2B5EF4-FFF2-40B4-BE49-F238E27FC236}">
                <a16:creationId xmlns:a16="http://schemas.microsoft.com/office/drawing/2014/main" id="{87327101-3F34-1284-7267-592FB554D68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F91D82-D516-1FE6-233D-08336FB9A392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5989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  <p:sldLayoutId id="2147484366" r:id="rId5"/>
    <p:sldLayoutId id="2147484367" r:id="rId6"/>
    <p:sldLayoutId id="2147484368" r:id="rId7"/>
    <p:sldLayoutId id="2147484369" r:id="rId8"/>
    <p:sldLayoutId id="2147484370" r:id="rId9"/>
    <p:sldLayoutId id="2147484371" r:id="rId10"/>
    <p:sldLayoutId id="2147484372" r:id="rId11"/>
    <p:sldLayoutId id="2147484373" r:id="rId12"/>
    <p:sldLayoutId id="2147484374" r:id="rId13"/>
    <p:sldLayoutId id="2147484375" r:id="rId14"/>
    <p:sldLayoutId id="2147484376" r:id="rId15"/>
    <p:sldLayoutId id="214748437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spc="0" baseline="0">
          <a:solidFill>
            <a:schemeClr val="tx1"/>
          </a:solidFill>
          <a:latin typeface="Fibra One UltraBold" panose="000009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550" b="0" kern="1200">
          <a:solidFill>
            <a:schemeClr val="tx1"/>
          </a:solidFill>
          <a:latin typeface="Fibra One UltraBold" panose="00000900000000000000" pitchFamily="50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Clr>
          <a:schemeClr val="tx2"/>
        </a:buClr>
        <a:buFont typeface="Wingdings 2" panose="05020102010507070707" pitchFamily="18" charset="2"/>
        <a:buChar char="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55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>
          <p15:clr>
            <a:srgbClr val="F26B43"/>
          </p15:clr>
        </p15:guide>
        <p15:guide id="3" pos="7416">
          <p15:clr>
            <a:srgbClr val="F26B43"/>
          </p15:clr>
        </p15:guide>
        <p15:guide id="4" pos="216">
          <p15:clr>
            <a:srgbClr val="F26B43"/>
          </p15:clr>
        </p15:guide>
        <p15:guide id="5" pos="381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816">
          <p15:clr>
            <a:srgbClr val="F26B43"/>
          </p15:clr>
        </p15:guide>
        <p15:guide id="8" pos="6216">
          <p15:clr>
            <a:srgbClr val="F26B43"/>
          </p15:clr>
        </p15:guide>
        <p15:guide id="9" orient="horz" pos="2496">
          <p15:clr>
            <a:srgbClr val="F26B43"/>
          </p15:clr>
        </p15:guide>
        <p15:guide id="10" orient="horz" pos="4190">
          <p15:clr>
            <a:srgbClr val="F26B43"/>
          </p15:clr>
        </p15:guide>
        <p15:guide id="11" pos="1416">
          <p15:clr>
            <a:srgbClr val="F26B43"/>
          </p15:clr>
        </p15:guide>
        <p15:guide id="12" pos="2616">
          <p15:clr>
            <a:srgbClr val="F26B43"/>
          </p15:clr>
        </p15:guide>
        <p15:guide id="13" pos="5016">
          <p15:clr>
            <a:srgbClr val="F26B43"/>
          </p15:clr>
        </p15:guide>
        <p15:guide id="14" orient="horz" pos="1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1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10" Type="http://schemas.openxmlformats.org/officeDocument/2006/relationships/image" Target="../media/image6.emf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0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11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2.xml"/><Relationship Id="rId6" Type="http://schemas.openxmlformats.org/officeDocument/2006/relationships/image" Target="../media/image210.png"/><Relationship Id="rId5" Type="http://schemas.openxmlformats.org/officeDocument/2006/relationships/image" Target="../media/image2.emf"/><Relationship Id="rId10" Type="http://schemas.openxmlformats.org/officeDocument/2006/relationships/image" Target="../media/image213.png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pepsicopartners.com/pepsico/en/USD/search/viewAll?q=tumbler&amp;text=tumbler&amp;productType=Product" TargetMode="External"/><Relationship Id="rId13" Type="http://schemas.openxmlformats.org/officeDocument/2006/relationships/image" Target="../media/image217.png"/><Relationship Id="rId18" Type="http://schemas.openxmlformats.org/officeDocument/2006/relationships/image" Target="../media/image220.png"/><Relationship Id="rId3" Type="http://schemas.openxmlformats.org/officeDocument/2006/relationships/notesSlide" Target="../notesSlides/notesSlide3.xml"/><Relationship Id="rId7" Type="http://schemas.openxmlformats.org/officeDocument/2006/relationships/hyperlink" Target="https://pepsicopartners.com/pepsico/en/USD/search/viewAll?q=compostable&amp;text=compostable&amp;productType=Product" TargetMode="External"/><Relationship Id="rId12" Type="http://schemas.openxmlformats.org/officeDocument/2006/relationships/image" Target="../media/image216.png"/><Relationship Id="rId17" Type="http://schemas.openxmlformats.org/officeDocument/2006/relationships/image" Target="../media/image219.png"/><Relationship Id="rId2" Type="http://schemas.openxmlformats.org/officeDocument/2006/relationships/slideLayout" Target="../slideLayouts/slideLayout1.xml"/><Relationship Id="rId16" Type="http://schemas.microsoft.com/office/2007/relationships/hdphoto" Target="../media/hdphoto2.wdp"/><Relationship Id="rId1" Type="http://schemas.openxmlformats.org/officeDocument/2006/relationships/tags" Target="../tags/tag103.xml"/><Relationship Id="rId6" Type="http://schemas.openxmlformats.org/officeDocument/2006/relationships/image" Target="../media/image214.png"/><Relationship Id="rId11" Type="http://schemas.openxmlformats.org/officeDocument/2006/relationships/image" Target="../media/image215.png"/><Relationship Id="rId5" Type="http://schemas.openxmlformats.org/officeDocument/2006/relationships/image" Target="../media/image2.emf"/><Relationship Id="rId15" Type="http://schemas.openxmlformats.org/officeDocument/2006/relationships/image" Target="../media/image218.png"/><Relationship Id="rId10" Type="http://schemas.openxmlformats.org/officeDocument/2006/relationships/image" Target="../media/image31.emf"/><Relationship Id="rId4" Type="http://schemas.openxmlformats.org/officeDocument/2006/relationships/oleObject" Target="../embeddings/oleObject100.bin"/><Relationship Id="rId9" Type="http://schemas.openxmlformats.org/officeDocument/2006/relationships/hyperlink" Target="https://shoppepsicopremiums.com/index.php?route=product/search&amp;search=tumbler" TargetMode="External"/><Relationship Id="rId1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221.png"/><Relationship Id="rId18" Type="http://schemas.openxmlformats.org/officeDocument/2006/relationships/image" Target="../media/image225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emf"/><Relationship Id="rId12" Type="http://schemas.microsoft.com/office/2007/relationships/diagramDrawing" Target="../diagrams/drawing1.xml"/><Relationship Id="rId17" Type="http://schemas.openxmlformats.org/officeDocument/2006/relationships/image" Target="../media/image224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23.png"/><Relationship Id="rId1" Type="http://schemas.openxmlformats.org/officeDocument/2006/relationships/tags" Target="../tags/tag104.xml"/><Relationship Id="rId6" Type="http://schemas.openxmlformats.org/officeDocument/2006/relationships/image" Target="../media/image31.emf"/><Relationship Id="rId11" Type="http://schemas.openxmlformats.org/officeDocument/2006/relationships/diagramColors" Target="../diagrams/colors1.xml"/><Relationship Id="rId5" Type="http://schemas.openxmlformats.org/officeDocument/2006/relationships/image" Target="../media/image2.emf"/><Relationship Id="rId15" Type="http://schemas.openxmlformats.org/officeDocument/2006/relationships/image" Target="../media/image216.png"/><Relationship Id="rId10" Type="http://schemas.openxmlformats.org/officeDocument/2006/relationships/diagramQuickStyle" Target="../diagrams/quickStyle1.xml"/><Relationship Id="rId4" Type="http://schemas.openxmlformats.org/officeDocument/2006/relationships/oleObject" Target="../embeddings/oleObject100.bin"/><Relationship Id="rId9" Type="http://schemas.openxmlformats.org/officeDocument/2006/relationships/diagramLayout" Target="../diagrams/layout1.xml"/><Relationship Id="rId14" Type="http://schemas.openxmlformats.org/officeDocument/2006/relationships/image" Target="../media/image2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mailto:catherine.walton@pepsico.com" TargetMode="External"/><Relationship Id="rId3" Type="http://schemas.openxmlformats.org/officeDocument/2006/relationships/image" Target="../media/image31.emf"/><Relationship Id="rId7" Type="http://schemas.openxmlformats.org/officeDocument/2006/relationships/hyperlink" Target="mailto:shanna.parra@pepsico.com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27.jpeg"/><Relationship Id="rId5" Type="http://schemas.openxmlformats.org/officeDocument/2006/relationships/image" Target="../media/image226.jpeg"/><Relationship Id="rId10" Type="http://schemas.openxmlformats.org/officeDocument/2006/relationships/image" Target="../media/image6.emf"/><Relationship Id="rId4" Type="http://schemas.openxmlformats.org/officeDocument/2006/relationships/image" Target="../media/image5.emf"/><Relationship Id="rId9" Type="http://schemas.openxmlformats.org/officeDocument/2006/relationships/image" Target="../media/image2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CEA0D60-693D-E877-223A-9F212EFBA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EA0D60-693D-E877-223A-9F212EFBA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A936C7D-2260-18B6-6EBB-7C833C66FDA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11D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AA1519D7-BEC6-9471-0E3C-4717484AD84D}"/>
              </a:ext>
            </a:extLst>
          </p:cNvPr>
          <p:cNvSpPr/>
          <p:nvPr/>
        </p:nvSpPr>
        <p:spPr>
          <a:xfrm>
            <a:off x="5690212" y="3923670"/>
            <a:ext cx="6501788" cy="2934330"/>
          </a:xfrm>
          <a:custGeom>
            <a:avLst/>
            <a:gdLst>
              <a:gd name="connsiteX0" fmla="*/ 617182 w 6501788"/>
              <a:gd name="connsiteY0" fmla="*/ 0 h 2934330"/>
              <a:gd name="connsiteX1" fmla="*/ 864318 w 6501788"/>
              <a:gd name="connsiteY1" fmla="*/ 0 h 2934330"/>
              <a:gd name="connsiteX2" fmla="*/ 6254652 w 6501788"/>
              <a:gd name="connsiteY2" fmla="*/ 0 h 2934330"/>
              <a:gd name="connsiteX3" fmla="*/ 6501788 w 6501788"/>
              <a:gd name="connsiteY3" fmla="*/ 0 h 2934330"/>
              <a:gd name="connsiteX4" fmla="*/ 6501788 w 6501788"/>
              <a:gd name="connsiteY4" fmla="*/ 2934330 h 2934330"/>
              <a:gd name="connsiteX5" fmla="*/ 6254652 w 6501788"/>
              <a:gd name="connsiteY5" fmla="*/ 2934330 h 2934330"/>
              <a:gd name="connsiteX6" fmla="*/ 247136 w 6501788"/>
              <a:gd name="connsiteY6" fmla="*/ 2934330 h 2934330"/>
              <a:gd name="connsiteX7" fmla="*/ 0 w 6501788"/>
              <a:gd name="connsiteY7" fmla="*/ 2934330 h 2934330"/>
              <a:gd name="connsiteX8" fmla="*/ 0 w 6501788"/>
              <a:gd name="connsiteY8" fmla="*/ 617182 h 2934330"/>
              <a:gd name="connsiteX9" fmla="*/ 617182 w 6501788"/>
              <a:gd name="connsiteY9" fmla="*/ 0 h 293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01788" h="2934330">
                <a:moveTo>
                  <a:pt x="617182" y="0"/>
                </a:moveTo>
                <a:lnTo>
                  <a:pt x="864318" y="0"/>
                </a:lnTo>
                <a:lnTo>
                  <a:pt x="6254652" y="0"/>
                </a:lnTo>
                <a:lnTo>
                  <a:pt x="6501788" y="0"/>
                </a:lnTo>
                <a:lnTo>
                  <a:pt x="6501788" y="2934330"/>
                </a:lnTo>
                <a:lnTo>
                  <a:pt x="6254652" y="2934330"/>
                </a:lnTo>
                <a:lnTo>
                  <a:pt x="247136" y="2934330"/>
                </a:lnTo>
                <a:lnTo>
                  <a:pt x="0" y="2934330"/>
                </a:lnTo>
                <a:lnTo>
                  <a:pt x="0" y="617182"/>
                </a:lnTo>
                <a:cubicBezTo>
                  <a:pt x="0" y="276322"/>
                  <a:pt x="276322" y="0"/>
                  <a:pt x="617182" y="0"/>
                </a:cubicBezTo>
                <a:close/>
              </a:path>
            </a:pathLst>
          </a:cu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7DE6E473-127C-64AB-0043-B7009D936BA0}"/>
              </a:ext>
            </a:extLst>
          </p:cNvPr>
          <p:cNvSpPr/>
          <p:nvPr/>
        </p:nvSpPr>
        <p:spPr>
          <a:xfrm rot="16200000" flipH="1">
            <a:off x="7088976" y="-1471855"/>
            <a:ext cx="3208088" cy="6997963"/>
          </a:xfrm>
          <a:custGeom>
            <a:avLst/>
            <a:gdLst>
              <a:gd name="connsiteX0" fmla="*/ 0 w 3329214"/>
              <a:gd name="connsiteY0" fmla="*/ 1664608 h 6997963"/>
              <a:gd name="connsiteX1" fmla="*/ 0 w 3329214"/>
              <a:gd name="connsiteY1" fmla="*/ 6997963 h 6997963"/>
              <a:gd name="connsiteX2" fmla="*/ 3329214 w 3329214"/>
              <a:gd name="connsiteY2" fmla="*/ 6997963 h 6997963"/>
              <a:gd name="connsiteX3" fmla="*/ 3329214 w 3329214"/>
              <a:gd name="connsiteY3" fmla="*/ 1664607 h 6997963"/>
              <a:gd name="connsiteX4" fmla="*/ 1664607 w 3329214"/>
              <a:gd name="connsiteY4" fmla="*/ 1 h 6997963"/>
              <a:gd name="connsiteX5" fmla="*/ 0 w 3329214"/>
              <a:gd name="connsiteY5" fmla="*/ 1664608 h 699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9214" h="6997963">
                <a:moveTo>
                  <a:pt x="0" y="1664608"/>
                </a:moveTo>
                <a:lnTo>
                  <a:pt x="0" y="6997963"/>
                </a:lnTo>
                <a:lnTo>
                  <a:pt x="3329214" y="6997963"/>
                </a:lnTo>
                <a:lnTo>
                  <a:pt x="3329214" y="1664607"/>
                </a:lnTo>
                <a:cubicBezTo>
                  <a:pt x="3329214" y="745270"/>
                  <a:pt x="2583944" y="0"/>
                  <a:pt x="1664607" y="1"/>
                </a:cubicBezTo>
                <a:cubicBezTo>
                  <a:pt x="745270" y="1"/>
                  <a:pt x="0" y="745270"/>
                  <a:pt x="0" y="16646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16E6BD-A270-84AB-BC72-5F2B291AF79B}"/>
              </a:ext>
            </a:extLst>
          </p:cNvPr>
          <p:cNvSpPr txBox="1"/>
          <p:nvPr/>
        </p:nvSpPr>
        <p:spPr>
          <a:xfrm>
            <a:off x="8534400" y="1506761"/>
            <a:ext cx="3453699" cy="1001493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  <a:t>A Portfolio of Advantaged</a:t>
            </a:r>
            <a:b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  <a:t>Sustainability Solution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AC7B71D-5429-0BA9-66DE-D51C3896627F}"/>
              </a:ext>
            </a:extLst>
          </p:cNvPr>
          <p:cNvSpPr/>
          <p:nvPr/>
        </p:nvSpPr>
        <p:spPr>
          <a:xfrm flipH="1" flipV="1">
            <a:off x="10458450" y="-1"/>
            <a:ext cx="1733550" cy="1463137"/>
          </a:xfrm>
          <a:custGeom>
            <a:avLst/>
            <a:gdLst>
              <a:gd name="connsiteX0" fmla="*/ 0 w 4441488"/>
              <a:gd name="connsiteY0" fmla="*/ 0 h 3748669"/>
              <a:gd name="connsiteX1" fmla="*/ 47134 w 4441488"/>
              <a:gd name="connsiteY1" fmla="*/ 139302 h 3748669"/>
              <a:gd name="connsiteX2" fmla="*/ 4181197 w 4441488"/>
              <a:gd name="connsiteY2" fmla="*/ 3702186 h 3748669"/>
              <a:gd name="connsiteX3" fmla="*/ 4441488 w 4441488"/>
              <a:gd name="connsiteY3" fmla="*/ 3748669 h 3748669"/>
              <a:gd name="connsiteX4" fmla="*/ 0 w 4441488"/>
              <a:gd name="connsiteY4" fmla="*/ 3748669 h 374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1488" h="3748669">
                <a:moveTo>
                  <a:pt x="0" y="0"/>
                </a:moveTo>
                <a:lnTo>
                  <a:pt x="47134" y="139302"/>
                </a:lnTo>
                <a:cubicBezTo>
                  <a:pt x="707026" y="1941551"/>
                  <a:pt x="2266187" y="3310318"/>
                  <a:pt x="4181197" y="3702186"/>
                </a:cubicBezTo>
                <a:lnTo>
                  <a:pt x="4441488" y="3748669"/>
                </a:lnTo>
                <a:lnTo>
                  <a:pt x="0" y="374866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9CA97012-959C-3DA5-36C9-417F63226D9E}"/>
              </a:ext>
            </a:extLst>
          </p:cNvPr>
          <p:cNvSpPr txBox="1">
            <a:spLocks/>
          </p:cNvSpPr>
          <p:nvPr/>
        </p:nvSpPr>
        <p:spPr>
          <a:xfrm>
            <a:off x="596900" y="2288262"/>
            <a:ext cx="3944010" cy="22111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IN" sz="5400">
                <a:solidFill>
                  <a:schemeClr val="bg1"/>
                </a:solidFill>
                <a:ea typeface="+mj-ea"/>
                <a:cs typeface="+mj-cs"/>
              </a:rPr>
              <a:t>What is </a:t>
            </a:r>
            <a:r>
              <a:rPr lang="en-IN" sz="5400" b="1">
                <a:solidFill>
                  <a:schemeClr val="bg1"/>
                </a:solidFill>
                <a:ea typeface="+mj-ea"/>
                <a:cs typeface="+mj-cs"/>
              </a:rPr>
              <a:t>Partners for Tomorrow?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084A322-F64D-220F-29EF-70B8F98DBE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3805844" y="5227092"/>
            <a:ext cx="1884368" cy="163090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BCA9BBD-4D38-9A4E-5F6B-76BA47F7E140}"/>
              </a:ext>
            </a:extLst>
          </p:cNvPr>
          <p:cNvGrpSpPr/>
          <p:nvPr/>
        </p:nvGrpSpPr>
        <p:grpSpPr>
          <a:xfrm>
            <a:off x="5428413" y="545132"/>
            <a:ext cx="2924756" cy="2924750"/>
            <a:chOff x="6024015" y="317772"/>
            <a:chExt cx="2876551" cy="2876546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E3A7802B-6B15-BC45-4D04-1C51823AA966}"/>
                </a:ext>
              </a:extLst>
            </p:cNvPr>
            <p:cNvGrpSpPr/>
            <p:nvPr/>
          </p:nvGrpSpPr>
          <p:grpSpPr>
            <a:xfrm>
              <a:off x="6024015" y="317772"/>
              <a:ext cx="2876551" cy="2876546"/>
              <a:chOff x="1469271" y="4001173"/>
              <a:chExt cx="1869924" cy="1869922"/>
            </a:xfrm>
            <a:solidFill>
              <a:schemeClr val="accent5">
                <a:lumMod val="20000"/>
                <a:lumOff val="80000"/>
                <a:alpha val="22000"/>
              </a:schemeClr>
            </a:solidFill>
          </p:grpSpPr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BECF3584-F03D-0568-F812-D5A4B004E6C7}"/>
                  </a:ext>
                </a:extLst>
              </p:cNvPr>
              <p:cNvSpPr/>
              <p:nvPr/>
            </p:nvSpPr>
            <p:spPr>
              <a:xfrm rot="5400000">
                <a:off x="2052037" y="4583938"/>
                <a:ext cx="704392" cy="704393"/>
              </a:xfrm>
              <a:custGeom>
                <a:avLst/>
                <a:gdLst>
                  <a:gd name="connsiteX0" fmla="*/ 588565 w 1177129"/>
                  <a:gd name="connsiteY0" fmla="*/ 1177130 h 1177129"/>
                  <a:gd name="connsiteX1" fmla="*/ 0 w 1177129"/>
                  <a:gd name="connsiteY1" fmla="*/ 588565 h 1177129"/>
                  <a:gd name="connsiteX2" fmla="*/ 588565 w 1177129"/>
                  <a:gd name="connsiteY2" fmla="*/ 0 h 1177129"/>
                  <a:gd name="connsiteX3" fmla="*/ 1177130 w 1177129"/>
                  <a:gd name="connsiteY3" fmla="*/ 588565 h 1177129"/>
                  <a:gd name="connsiteX4" fmla="*/ 588565 w 1177129"/>
                  <a:gd name="connsiteY4" fmla="*/ 1177130 h 1177129"/>
                  <a:gd name="connsiteX5" fmla="*/ 588565 w 1177129"/>
                  <a:gd name="connsiteY5" fmla="*/ 68899 h 1177129"/>
                  <a:gd name="connsiteX6" fmla="*/ 68830 w 1177129"/>
                  <a:gd name="connsiteY6" fmla="*/ 588634 h 1177129"/>
                  <a:gd name="connsiteX7" fmla="*/ 588565 w 1177129"/>
                  <a:gd name="connsiteY7" fmla="*/ 1108369 h 1177129"/>
                  <a:gd name="connsiteX8" fmla="*/ 1108300 w 1177129"/>
                  <a:gd name="connsiteY8" fmla="*/ 588634 h 1177129"/>
                  <a:gd name="connsiteX9" fmla="*/ 588565 w 1177129"/>
                  <a:gd name="connsiteY9" fmla="*/ 68899 h 1177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7129" h="1177129">
                    <a:moveTo>
                      <a:pt x="588565" y="1177130"/>
                    </a:moveTo>
                    <a:cubicBezTo>
                      <a:pt x="264032" y="1177130"/>
                      <a:pt x="0" y="913098"/>
                      <a:pt x="0" y="588565"/>
                    </a:cubicBezTo>
                    <a:cubicBezTo>
                      <a:pt x="0" y="264032"/>
                      <a:pt x="264032" y="0"/>
                      <a:pt x="588565" y="0"/>
                    </a:cubicBezTo>
                    <a:cubicBezTo>
                      <a:pt x="913098" y="0"/>
                      <a:pt x="1177130" y="264032"/>
                      <a:pt x="1177130" y="588565"/>
                    </a:cubicBezTo>
                    <a:cubicBezTo>
                      <a:pt x="1177130" y="913098"/>
                      <a:pt x="913098" y="1177130"/>
                      <a:pt x="588565" y="1177130"/>
                    </a:cubicBezTo>
                    <a:close/>
                    <a:moveTo>
                      <a:pt x="588565" y="68899"/>
                    </a:moveTo>
                    <a:cubicBezTo>
                      <a:pt x="302026" y="68899"/>
                      <a:pt x="68830" y="302026"/>
                      <a:pt x="68830" y="588634"/>
                    </a:cubicBezTo>
                    <a:cubicBezTo>
                      <a:pt x="68830" y="875241"/>
                      <a:pt x="301957" y="1108369"/>
                      <a:pt x="588565" y="1108369"/>
                    </a:cubicBezTo>
                    <a:cubicBezTo>
                      <a:pt x="875173" y="1108369"/>
                      <a:pt x="1108300" y="875241"/>
                      <a:pt x="1108300" y="588634"/>
                    </a:cubicBezTo>
                    <a:cubicBezTo>
                      <a:pt x="1108300" y="302026"/>
                      <a:pt x="875173" y="68899"/>
                      <a:pt x="588565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A3BBC495-706C-33BD-F780-5F9573BACA43}"/>
                  </a:ext>
                </a:extLst>
              </p:cNvPr>
              <p:cNvSpPr/>
              <p:nvPr/>
            </p:nvSpPr>
            <p:spPr>
              <a:xfrm rot="5400000">
                <a:off x="2121850" y="4653751"/>
                <a:ext cx="564766" cy="564766"/>
              </a:xfrm>
              <a:custGeom>
                <a:avLst/>
                <a:gdLst>
                  <a:gd name="connsiteX0" fmla="*/ 471898 w 943796"/>
                  <a:gd name="connsiteY0" fmla="*/ 943796 h 943796"/>
                  <a:gd name="connsiteX1" fmla="*/ 0 w 943796"/>
                  <a:gd name="connsiteY1" fmla="*/ 471898 h 943796"/>
                  <a:gd name="connsiteX2" fmla="*/ 471898 w 943796"/>
                  <a:gd name="connsiteY2" fmla="*/ 0 h 943796"/>
                  <a:gd name="connsiteX3" fmla="*/ 943796 w 943796"/>
                  <a:gd name="connsiteY3" fmla="*/ 471898 h 943796"/>
                  <a:gd name="connsiteX4" fmla="*/ 471898 w 943796"/>
                  <a:gd name="connsiteY4" fmla="*/ 943796 h 943796"/>
                  <a:gd name="connsiteX5" fmla="*/ 471898 w 943796"/>
                  <a:gd name="connsiteY5" fmla="*/ 68899 h 943796"/>
                  <a:gd name="connsiteX6" fmla="*/ 68830 w 943796"/>
                  <a:gd name="connsiteY6" fmla="*/ 471967 h 943796"/>
                  <a:gd name="connsiteX7" fmla="*/ 471898 w 943796"/>
                  <a:gd name="connsiteY7" fmla="*/ 875035 h 943796"/>
                  <a:gd name="connsiteX8" fmla="*/ 874966 w 943796"/>
                  <a:gd name="connsiteY8" fmla="*/ 471967 h 943796"/>
                  <a:gd name="connsiteX9" fmla="*/ 471898 w 943796"/>
                  <a:gd name="connsiteY9" fmla="*/ 68899 h 943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3796" h="943796">
                    <a:moveTo>
                      <a:pt x="471898" y="943796"/>
                    </a:moveTo>
                    <a:cubicBezTo>
                      <a:pt x="211721" y="943796"/>
                      <a:pt x="0" y="732144"/>
                      <a:pt x="0" y="471898"/>
                    </a:cubicBezTo>
                    <a:cubicBezTo>
                      <a:pt x="0" y="211652"/>
                      <a:pt x="211652" y="0"/>
                      <a:pt x="471898" y="0"/>
                    </a:cubicBezTo>
                    <a:cubicBezTo>
                      <a:pt x="732144" y="0"/>
                      <a:pt x="943796" y="211652"/>
                      <a:pt x="943796" y="471898"/>
                    </a:cubicBezTo>
                    <a:cubicBezTo>
                      <a:pt x="943796" y="732144"/>
                      <a:pt x="732144" y="943796"/>
                      <a:pt x="471898" y="943796"/>
                    </a:cubicBezTo>
                    <a:close/>
                    <a:moveTo>
                      <a:pt x="471898" y="68899"/>
                    </a:moveTo>
                    <a:cubicBezTo>
                      <a:pt x="249646" y="68899"/>
                      <a:pt x="68830" y="249715"/>
                      <a:pt x="68830" y="471967"/>
                    </a:cubicBezTo>
                    <a:cubicBezTo>
                      <a:pt x="68830" y="694219"/>
                      <a:pt x="249646" y="875035"/>
                      <a:pt x="471898" y="875035"/>
                    </a:cubicBezTo>
                    <a:cubicBezTo>
                      <a:pt x="694150" y="875035"/>
                      <a:pt x="874966" y="694219"/>
                      <a:pt x="874966" y="471967"/>
                    </a:cubicBezTo>
                    <a:cubicBezTo>
                      <a:pt x="874966" y="249715"/>
                      <a:pt x="694150" y="68899"/>
                      <a:pt x="471898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1E3B5F9C-49F8-1570-CBC4-E467AC5BA04B}"/>
                  </a:ext>
                </a:extLst>
              </p:cNvPr>
              <p:cNvSpPr/>
              <p:nvPr/>
            </p:nvSpPr>
            <p:spPr>
              <a:xfrm rot="5400000">
                <a:off x="2194176" y="4726077"/>
                <a:ext cx="420114" cy="420115"/>
              </a:xfrm>
              <a:custGeom>
                <a:avLst/>
                <a:gdLst>
                  <a:gd name="connsiteX0" fmla="*/ 351033 w 702065"/>
                  <a:gd name="connsiteY0" fmla="*/ 702065 h 702065"/>
                  <a:gd name="connsiteX1" fmla="*/ 0 w 702065"/>
                  <a:gd name="connsiteY1" fmla="*/ 351033 h 702065"/>
                  <a:gd name="connsiteX2" fmla="*/ 351033 w 702065"/>
                  <a:gd name="connsiteY2" fmla="*/ 0 h 702065"/>
                  <a:gd name="connsiteX3" fmla="*/ 702065 w 702065"/>
                  <a:gd name="connsiteY3" fmla="*/ 351033 h 702065"/>
                  <a:gd name="connsiteX4" fmla="*/ 351033 w 702065"/>
                  <a:gd name="connsiteY4" fmla="*/ 702065 h 702065"/>
                  <a:gd name="connsiteX5" fmla="*/ 351033 w 702065"/>
                  <a:gd name="connsiteY5" fmla="*/ 68830 h 702065"/>
                  <a:gd name="connsiteX6" fmla="*/ 68830 w 702065"/>
                  <a:gd name="connsiteY6" fmla="*/ 351033 h 702065"/>
                  <a:gd name="connsiteX7" fmla="*/ 351033 w 702065"/>
                  <a:gd name="connsiteY7" fmla="*/ 633235 h 702065"/>
                  <a:gd name="connsiteX8" fmla="*/ 633235 w 702065"/>
                  <a:gd name="connsiteY8" fmla="*/ 351033 h 702065"/>
                  <a:gd name="connsiteX9" fmla="*/ 351033 w 702065"/>
                  <a:gd name="connsiteY9" fmla="*/ 68830 h 702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065" h="702065">
                    <a:moveTo>
                      <a:pt x="351033" y="702065"/>
                    </a:moveTo>
                    <a:cubicBezTo>
                      <a:pt x="157483" y="702065"/>
                      <a:pt x="0" y="544582"/>
                      <a:pt x="0" y="351033"/>
                    </a:cubicBezTo>
                    <a:cubicBezTo>
                      <a:pt x="0" y="157483"/>
                      <a:pt x="157483" y="0"/>
                      <a:pt x="351033" y="0"/>
                    </a:cubicBezTo>
                    <a:cubicBezTo>
                      <a:pt x="544582" y="0"/>
                      <a:pt x="702065" y="157483"/>
                      <a:pt x="702065" y="351033"/>
                    </a:cubicBezTo>
                    <a:cubicBezTo>
                      <a:pt x="702065" y="544582"/>
                      <a:pt x="544582" y="702065"/>
                      <a:pt x="351033" y="702065"/>
                    </a:cubicBezTo>
                    <a:close/>
                    <a:moveTo>
                      <a:pt x="351033" y="68830"/>
                    </a:moveTo>
                    <a:cubicBezTo>
                      <a:pt x="195408" y="68830"/>
                      <a:pt x="68830" y="195408"/>
                      <a:pt x="68830" y="351033"/>
                    </a:cubicBezTo>
                    <a:cubicBezTo>
                      <a:pt x="68830" y="506657"/>
                      <a:pt x="195408" y="633235"/>
                      <a:pt x="351033" y="633235"/>
                    </a:cubicBezTo>
                    <a:cubicBezTo>
                      <a:pt x="506657" y="633235"/>
                      <a:pt x="633235" y="506657"/>
                      <a:pt x="633235" y="351033"/>
                    </a:cubicBezTo>
                    <a:cubicBezTo>
                      <a:pt x="633235" y="195408"/>
                      <a:pt x="506657" y="68830"/>
                      <a:pt x="351033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0EBF095A-F92B-FCC3-1579-04431C4F2A84}"/>
                  </a:ext>
                </a:extLst>
              </p:cNvPr>
              <p:cNvSpPr/>
              <p:nvPr/>
            </p:nvSpPr>
            <p:spPr>
              <a:xfrm rot="5400000">
                <a:off x="1987825" y="4519726"/>
                <a:ext cx="832815" cy="832816"/>
              </a:xfrm>
              <a:custGeom>
                <a:avLst/>
                <a:gdLst>
                  <a:gd name="connsiteX0" fmla="*/ 695871 w 1391741"/>
                  <a:gd name="connsiteY0" fmla="*/ 1391741 h 1391741"/>
                  <a:gd name="connsiteX1" fmla="*/ 0 w 1391741"/>
                  <a:gd name="connsiteY1" fmla="*/ 695871 h 1391741"/>
                  <a:gd name="connsiteX2" fmla="*/ 695871 w 1391741"/>
                  <a:gd name="connsiteY2" fmla="*/ 0 h 1391741"/>
                  <a:gd name="connsiteX3" fmla="*/ 1391741 w 1391741"/>
                  <a:gd name="connsiteY3" fmla="*/ 695871 h 1391741"/>
                  <a:gd name="connsiteX4" fmla="*/ 695871 w 1391741"/>
                  <a:gd name="connsiteY4" fmla="*/ 1391741 h 1391741"/>
                  <a:gd name="connsiteX5" fmla="*/ 695871 w 1391741"/>
                  <a:gd name="connsiteY5" fmla="*/ 68761 h 1391741"/>
                  <a:gd name="connsiteX6" fmla="*/ 68830 w 1391741"/>
                  <a:gd name="connsiteY6" fmla="*/ 695802 h 1391741"/>
                  <a:gd name="connsiteX7" fmla="*/ 695871 w 1391741"/>
                  <a:gd name="connsiteY7" fmla="*/ 1322843 h 1391741"/>
                  <a:gd name="connsiteX8" fmla="*/ 1322912 w 1391741"/>
                  <a:gd name="connsiteY8" fmla="*/ 695802 h 1391741"/>
                  <a:gd name="connsiteX9" fmla="*/ 695871 w 1391741"/>
                  <a:gd name="connsiteY9" fmla="*/ 68761 h 1391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91741" h="1391741">
                    <a:moveTo>
                      <a:pt x="695871" y="1391741"/>
                    </a:moveTo>
                    <a:cubicBezTo>
                      <a:pt x="312144" y="1391741"/>
                      <a:pt x="0" y="1079529"/>
                      <a:pt x="0" y="695871"/>
                    </a:cubicBezTo>
                    <a:cubicBezTo>
                      <a:pt x="0" y="312213"/>
                      <a:pt x="312213" y="0"/>
                      <a:pt x="695871" y="0"/>
                    </a:cubicBezTo>
                    <a:cubicBezTo>
                      <a:pt x="1079529" y="0"/>
                      <a:pt x="1391741" y="312213"/>
                      <a:pt x="1391741" y="695871"/>
                    </a:cubicBezTo>
                    <a:cubicBezTo>
                      <a:pt x="1391741" y="1079529"/>
                      <a:pt x="1079529" y="1391741"/>
                      <a:pt x="695871" y="1391741"/>
                    </a:cubicBezTo>
                    <a:close/>
                    <a:moveTo>
                      <a:pt x="695871" y="68761"/>
                    </a:moveTo>
                    <a:cubicBezTo>
                      <a:pt x="350069" y="68761"/>
                      <a:pt x="68830" y="350069"/>
                      <a:pt x="68830" y="695802"/>
                    </a:cubicBezTo>
                    <a:cubicBezTo>
                      <a:pt x="68830" y="1041535"/>
                      <a:pt x="350138" y="1322843"/>
                      <a:pt x="695871" y="1322843"/>
                    </a:cubicBezTo>
                    <a:cubicBezTo>
                      <a:pt x="1041604" y="1322843"/>
                      <a:pt x="1322912" y="1041535"/>
                      <a:pt x="1322912" y="695802"/>
                    </a:cubicBezTo>
                    <a:cubicBezTo>
                      <a:pt x="1322912" y="350069"/>
                      <a:pt x="1041604" y="68761"/>
                      <a:pt x="695871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3C299051-C838-B6A6-9E2E-44EC82BF2B3E}"/>
                  </a:ext>
                </a:extLst>
              </p:cNvPr>
              <p:cNvSpPr/>
              <p:nvPr/>
            </p:nvSpPr>
            <p:spPr>
              <a:xfrm rot="5400000">
                <a:off x="1922255" y="4454155"/>
                <a:ext cx="963957" cy="963958"/>
              </a:xfrm>
              <a:custGeom>
                <a:avLst/>
                <a:gdLst>
                  <a:gd name="connsiteX0" fmla="*/ 805448 w 1610895"/>
                  <a:gd name="connsiteY0" fmla="*/ 1610896 h 1610895"/>
                  <a:gd name="connsiteX1" fmla="*/ 0 w 1610895"/>
                  <a:gd name="connsiteY1" fmla="*/ 805448 h 1610895"/>
                  <a:gd name="connsiteX2" fmla="*/ 805448 w 1610895"/>
                  <a:gd name="connsiteY2" fmla="*/ 0 h 1610895"/>
                  <a:gd name="connsiteX3" fmla="*/ 1610896 w 1610895"/>
                  <a:gd name="connsiteY3" fmla="*/ 805448 h 1610895"/>
                  <a:gd name="connsiteX4" fmla="*/ 805448 w 1610895"/>
                  <a:gd name="connsiteY4" fmla="*/ 1610896 h 1610895"/>
                  <a:gd name="connsiteX5" fmla="*/ 805448 w 1610895"/>
                  <a:gd name="connsiteY5" fmla="*/ 68899 h 1610895"/>
                  <a:gd name="connsiteX6" fmla="*/ 68830 w 1610895"/>
                  <a:gd name="connsiteY6" fmla="*/ 805517 h 1610895"/>
                  <a:gd name="connsiteX7" fmla="*/ 805448 w 1610895"/>
                  <a:gd name="connsiteY7" fmla="*/ 1542135 h 1610895"/>
                  <a:gd name="connsiteX8" fmla="*/ 1542066 w 1610895"/>
                  <a:gd name="connsiteY8" fmla="*/ 805517 h 1610895"/>
                  <a:gd name="connsiteX9" fmla="*/ 805448 w 1610895"/>
                  <a:gd name="connsiteY9" fmla="*/ 68899 h 1610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10895" h="1610895">
                    <a:moveTo>
                      <a:pt x="805448" y="1610896"/>
                    </a:moveTo>
                    <a:cubicBezTo>
                      <a:pt x="361357" y="1610896"/>
                      <a:pt x="0" y="1249607"/>
                      <a:pt x="0" y="805448"/>
                    </a:cubicBezTo>
                    <a:cubicBezTo>
                      <a:pt x="0" y="361288"/>
                      <a:pt x="361288" y="0"/>
                      <a:pt x="805448" y="0"/>
                    </a:cubicBezTo>
                    <a:cubicBezTo>
                      <a:pt x="1249607" y="0"/>
                      <a:pt x="1610896" y="361288"/>
                      <a:pt x="1610896" y="805448"/>
                    </a:cubicBezTo>
                    <a:cubicBezTo>
                      <a:pt x="1610896" y="1249607"/>
                      <a:pt x="1249607" y="1610896"/>
                      <a:pt x="805448" y="1610896"/>
                    </a:cubicBezTo>
                    <a:close/>
                    <a:moveTo>
                      <a:pt x="805448" y="68899"/>
                    </a:moveTo>
                    <a:cubicBezTo>
                      <a:pt x="399283" y="68899"/>
                      <a:pt x="68830" y="399351"/>
                      <a:pt x="68830" y="805517"/>
                    </a:cubicBezTo>
                    <a:cubicBezTo>
                      <a:pt x="68830" y="1211682"/>
                      <a:pt x="399283" y="1542135"/>
                      <a:pt x="805448" y="1542135"/>
                    </a:cubicBezTo>
                    <a:cubicBezTo>
                      <a:pt x="1211613" y="1542135"/>
                      <a:pt x="1542066" y="1211682"/>
                      <a:pt x="1542066" y="805517"/>
                    </a:cubicBezTo>
                    <a:cubicBezTo>
                      <a:pt x="1542066" y="399351"/>
                      <a:pt x="1211613" y="68899"/>
                      <a:pt x="805448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BA4008B5-C8DC-93D0-26BC-6E536C4546D8}"/>
                  </a:ext>
                </a:extLst>
              </p:cNvPr>
              <p:cNvSpPr/>
              <p:nvPr/>
            </p:nvSpPr>
            <p:spPr>
              <a:xfrm rot="5400000">
                <a:off x="1855077" y="4386978"/>
                <a:ext cx="1098311" cy="1098313"/>
              </a:xfrm>
              <a:custGeom>
                <a:avLst/>
                <a:gdLst>
                  <a:gd name="connsiteX0" fmla="*/ 917709 w 1835419"/>
                  <a:gd name="connsiteY0" fmla="*/ 1835419 h 1835419"/>
                  <a:gd name="connsiteX1" fmla="*/ 0 w 1835419"/>
                  <a:gd name="connsiteY1" fmla="*/ 917709 h 1835419"/>
                  <a:gd name="connsiteX2" fmla="*/ 917709 w 1835419"/>
                  <a:gd name="connsiteY2" fmla="*/ 0 h 1835419"/>
                  <a:gd name="connsiteX3" fmla="*/ 1835419 w 1835419"/>
                  <a:gd name="connsiteY3" fmla="*/ 917709 h 1835419"/>
                  <a:gd name="connsiteX4" fmla="*/ 917709 w 1835419"/>
                  <a:gd name="connsiteY4" fmla="*/ 1835419 h 1835419"/>
                  <a:gd name="connsiteX5" fmla="*/ 917709 w 1835419"/>
                  <a:gd name="connsiteY5" fmla="*/ 68761 h 1835419"/>
                  <a:gd name="connsiteX6" fmla="*/ 68830 w 1835419"/>
                  <a:gd name="connsiteY6" fmla="*/ 917641 h 1835419"/>
                  <a:gd name="connsiteX7" fmla="*/ 917709 w 1835419"/>
                  <a:gd name="connsiteY7" fmla="*/ 1766520 h 1835419"/>
                  <a:gd name="connsiteX8" fmla="*/ 1766589 w 1835419"/>
                  <a:gd name="connsiteY8" fmla="*/ 917641 h 1835419"/>
                  <a:gd name="connsiteX9" fmla="*/ 917709 w 1835419"/>
                  <a:gd name="connsiteY9" fmla="*/ 68761 h 1835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5419" h="1835419">
                    <a:moveTo>
                      <a:pt x="917709" y="1835419"/>
                    </a:moveTo>
                    <a:cubicBezTo>
                      <a:pt x="411672" y="1835419"/>
                      <a:pt x="0" y="1423747"/>
                      <a:pt x="0" y="917709"/>
                    </a:cubicBezTo>
                    <a:cubicBezTo>
                      <a:pt x="0" y="411672"/>
                      <a:pt x="411672" y="0"/>
                      <a:pt x="917709" y="0"/>
                    </a:cubicBezTo>
                    <a:cubicBezTo>
                      <a:pt x="1423747" y="0"/>
                      <a:pt x="1835419" y="411672"/>
                      <a:pt x="1835419" y="917709"/>
                    </a:cubicBezTo>
                    <a:cubicBezTo>
                      <a:pt x="1835419" y="1423747"/>
                      <a:pt x="1423747" y="1835419"/>
                      <a:pt x="917709" y="1835419"/>
                    </a:cubicBezTo>
                    <a:close/>
                    <a:moveTo>
                      <a:pt x="917709" y="68761"/>
                    </a:moveTo>
                    <a:cubicBezTo>
                      <a:pt x="449597" y="68761"/>
                      <a:pt x="68830" y="449597"/>
                      <a:pt x="68830" y="917641"/>
                    </a:cubicBezTo>
                    <a:cubicBezTo>
                      <a:pt x="68830" y="1385684"/>
                      <a:pt x="449666" y="1766520"/>
                      <a:pt x="917709" y="1766520"/>
                    </a:cubicBezTo>
                    <a:cubicBezTo>
                      <a:pt x="1385753" y="1766520"/>
                      <a:pt x="1766589" y="1385684"/>
                      <a:pt x="1766589" y="917641"/>
                    </a:cubicBezTo>
                    <a:cubicBezTo>
                      <a:pt x="1766589" y="449597"/>
                      <a:pt x="1385753" y="68761"/>
                      <a:pt x="917709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FECC0DEA-7B09-562C-B60E-3D24DB64776C}"/>
                  </a:ext>
                </a:extLst>
              </p:cNvPr>
              <p:cNvSpPr/>
              <p:nvPr/>
            </p:nvSpPr>
            <p:spPr>
              <a:xfrm rot="5400000">
                <a:off x="1784441" y="4316341"/>
                <a:ext cx="1239585" cy="1239586"/>
              </a:xfrm>
              <a:custGeom>
                <a:avLst/>
                <a:gdLst>
                  <a:gd name="connsiteX0" fmla="*/ 1035753 w 2071505"/>
                  <a:gd name="connsiteY0" fmla="*/ 2071506 h 2071505"/>
                  <a:gd name="connsiteX1" fmla="*/ 0 w 2071505"/>
                  <a:gd name="connsiteY1" fmla="*/ 1035753 h 2071505"/>
                  <a:gd name="connsiteX2" fmla="*/ 1035753 w 2071505"/>
                  <a:gd name="connsiteY2" fmla="*/ 0 h 2071505"/>
                  <a:gd name="connsiteX3" fmla="*/ 2071506 w 2071505"/>
                  <a:gd name="connsiteY3" fmla="*/ 1035753 h 2071505"/>
                  <a:gd name="connsiteX4" fmla="*/ 1035753 w 2071505"/>
                  <a:gd name="connsiteY4" fmla="*/ 2071506 h 2071505"/>
                  <a:gd name="connsiteX5" fmla="*/ 1035753 w 2071505"/>
                  <a:gd name="connsiteY5" fmla="*/ 68761 h 2071505"/>
                  <a:gd name="connsiteX6" fmla="*/ 68830 w 2071505"/>
                  <a:gd name="connsiteY6" fmla="*/ 1035684 h 2071505"/>
                  <a:gd name="connsiteX7" fmla="*/ 1035753 w 2071505"/>
                  <a:gd name="connsiteY7" fmla="*/ 2002607 h 2071505"/>
                  <a:gd name="connsiteX8" fmla="*/ 2002676 w 2071505"/>
                  <a:gd name="connsiteY8" fmla="*/ 1035684 h 2071505"/>
                  <a:gd name="connsiteX9" fmla="*/ 1035753 w 2071505"/>
                  <a:gd name="connsiteY9" fmla="*/ 68761 h 207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71505" h="2071505">
                    <a:moveTo>
                      <a:pt x="1035753" y="2071506"/>
                    </a:moveTo>
                    <a:cubicBezTo>
                      <a:pt x="464602" y="2071506"/>
                      <a:pt x="0" y="1606835"/>
                      <a:pt x="0" y="1035753"/>
                    </a:cubicBezTo>
                    <a:cubicBezTo>
                      <a:pt x="0" y="464671"/>
                      <a:pt x="464671" y="0"/>
                      <a:pt x="1035753" y="0"/>
                    </a:cubicBezTo>
                    <a:cubicBezTo>
                      <a:pt x="1606835" y="0"/>
                      <a:pt x="2071506" y="464671"/>
                      <a:pt x="2071506" y="1035753"/>
                    </a:cubicBezTo>
                    <a:cubicBezTo>
                      <a:pt x="2071506" y="1606835"/>
                      <a:pt x="1606835" y="2071506"/>
                      <a:pt x="1035753" y="2071506"/>
                    </a:cubicBezTo>
                    <a:close/>
                    <a:moveTo>
                      <a:pt x="1035753" y="68761"/>
                    </a:moveTo>
                    <a:cubicBezTo>
                      <a:pt x="502596" y="68761"/>
                      <a:pt x="68830" y="502527"/>
                      <a:pt x="68830" y="1035684"/>
                    </a:cubicBezTo>
                    <a:cubicBezTo>
                      <a:pt x="68830" y="1568841"/>
                      <a:pt x="502596" y="2002607"/>
                      <a:pt x="1035753" y="2002607"/>
                    </a:cubicBezTo>
                    <a:cubicBezTo>
                      <a:pt x="1568910" y="2002607"/>
                      <a:pt x="2002676" y="1568841"/>
                      <a:pt x="2002676" y="1035684"/>
                    </a:cubicBezTo>
                    <a:cubicBezTo>
                      <a:pt x="2002676" y="502527"/>
                      <a:pt x="1568910" y="68761"/>
                      <a:pt x="1035753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A719EA8F-71CB-8066-86E7-FFC8D51FDB17}"/>
                  </a:ext>
                </a:extLst>
              </p:cNvPr>
              <p:cNvSpPr/>
              <p:nvPr/>
            </p:nvSpPr>
            <p:spPr>
              <a:xfrm rot="5400000">
                <a:off x="1709521" y="4241420"/>
                <a:ext cx="1389426" cy="1389427"/>
              </a:xfrm>
              <a:custGeom>
                <a:avLst/>
                <a:gdLst>
                  <a:gd name="connsiteX0" fmla="*/ 1160955 w 2321908"/>
                  <a:gd name="connsiteY0" fmla="*/ 2321909 h 2321908"/>
                  <a:gd name="connsiteX1" fmla="*/ 0 w 2321908"/>
                  <a:gd name="connsiteY1" fmla="*/ 1160955 h 2321908"/>
                  <a:gd name="connsiteX2" fmla="*/ 1160955 w 2321908"/>
                  <a:gd name="connsiteY2" fmla="*/ 0 h 2321908"/>
                  <a:gd name="connsiteX3" fmla="*/ 2321909 w 2321908"/>
                  <a:gd name="connsiteY3" fmla="*/ 1160955 h 2321908"/>
                  <a:gd name="connsiteX4" fmla="*/ 1160955 w 2321908"/>
                  <a:gd name="connsiteY4" fmla="*/ 2321909 h 2321908"/>
                  <a:gd name="connsiteX5" fmla="*/ 1160955 w 2321908"/>
                  <a:gd name="connsiteY5" fmla="*/ 68899 h 2321908"/>
                  <a:gd name="connsiteX6" fmla="*/ 68830 w 2321908"/>
                  <a:gd name="connsiteY6" fmla="*/ 1161023 h 2321908"/>
                  <a:gd name="connsiteX7" fmla="*/ 1160955 w 2321908"/>
                  <a:gd name="connsiteY7" fmla="*/ 2253148 h 2321908"/>
                  <a:gd name="connsiteX8" fmla="*/ 2253079 w 2321908"/>
                  <a:gd name="connsiteY8" fmla="*/ 1161023 h 2321908"/>
                  <a:gd name="connsiteX9" fmla="*/ 1160955 w 2321908"/>
                  <a:gd name="connsiteY9" fmla="*/ 68899 h 2321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21908" h="2321908">
                    <a:moveTo>
                      <a:pt x="1160955" y="2321909"/>
                    </a:moveTo>
                    <a:cubicBezTo>
                      <a:pt x="520836" y="2321909"/>
                      <a:pt x="0" y="1801142"/>
                      <a:pt x="0" y="1160955"/>
                    </a:cubicBezTo>
                    <a:cubicBezTo>
                      <a:pt x="0" y="520767"/>
                      <a:pt x="520767" y="0"/>
                      <a:pt x="1160955" y="0"/>
                    </a:cubicBezTo>
                    <a:cubicBezTo>
                      <a:pt x="1801142" y="0"/>
                      <a:pt x="2321909" y="520767"/>
                      <a:pt x="2321909" y="1160955"/>
                    </a:cubicBezTo>
                    <a:cubicBezTo>
                      <a:pt x="2321909" y="1801142"/>
                      <a:pt x="1801142" y="2321909"/>
                      <a:pt x="1160955" y="2321909"/>
                    </a:cubicBezTo>
                    <a:close/>
                    <a:moveTo>
                      <a:pt x="1160955" y="68899"/>
                    </a:moveTo>
                    <a:cubicBezTo>
                      <a:pt x="558762" y="68899"/>
                      <a:pt x="68830" y="558830"/>
                      <a:pt x="68830" y="1161023"/>
                    </a:cubicBezTo>
                    <a:cubicBezTo>
                      <a:pt x="68830" y="1763217"/>
                      <a:pt x="558762" y="2253148"/>
                      <a:pt x="1160955" y="2253148"/>
                    </a:cubicBezTo>
                    <a:cubicBezTo>
                      <a:pt x="1763148" y="2253148"/>
                      <a:pt x="2253079" y="1763217"/>
                      <a:pt x="2253079" y="1161023"/>
                    </a:cubicBezTo>
                    <a:cubicBezTo>
                      <a:pt x="2253079" y="558830"/>
                      <a:pt x="1763148" y="68899"/>
                      <a:pt x="1160955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B35128E7-8C04-0351-504D-964C4AEE54F1}"/>
                  </a:ext>
                </a:extLst>
              </p:cNvPr>
              <p:cNvSpPr/>
              <p:nvPr/>
            </p:nvSpPr>
            <p:spPr>
              <a:xfrm rot="5400000">
                <a:off x="1631757" y="4163699"/>
                <a:ext cx="1544869" cy="1544870"/>
              </a:xfrm>
              <a:custGeom>
                <a:avLst/>
                <a:gdLst>
                  <a:gd name="connsiteX0" fmla="*/ 1290837 w 2581673"/>
                  <a:gd name="connsiteY0" fmla="*/ 2581673 h 2581673"/>
                  <a:gd name="connsiteX1" fmla="*/ 0 w 2581673"/>
                  <a:gd name="connsiteY1" fmla="*/ 1290837 h 2581673"/>
                  <a:gd name="connsiteX2" fmla="*/ 1290837 w 2581673"/>
                  <a:gd name="connsiteY2" fmla="*/ 0 h 2581673"/>
                  <a:gd name="connsiteX3" fmla="*/ 2581673 w 2581673"/>
                  <a:gd name="connsiteY3" fmla="*/ 1290837 h 2581673"/>
                  <a:gd name="connsiteX4" fmla="*/ 1290837 w 2581673"/>
                  <a:gd name="connsiteY4" fmla="*/ 2581673 h 2581673"/>
                  <a:gd name="connsiteX5" fmla="*/ 1290837 w 2581673"/>
                  <a:gd name="connsiteY5" fmla="*/ 68761 h 2581673"/>
                  <a:gd name="connsiteX6" fmla="*/ 68830 w 2581673"/>
                  <a:gd name="connsiteY6" fmla="*/ 1290768 h 2581673"/>
                  <a:gd name="connsiteX7" fmla="*/ 1290837 w 2581673"/>
                  <a:gd name="connsiteY7" fmla="*/ 2512774 h 2581673"/>
                  <a:gd name="connsiteX8" fmla="*/ 2512843 w 2581673"/>
                  <a:gd name="connsiteY8" fmla="*/ 1290768 h 2581673"/>
                  <a:gd name="connsiteX9" fmla="*/ 1290837 w 2581673"/>
                  <a:gd name="connsiteY9" fmla="*/ 68761 h 258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81673" h="2581673">
                    <a:moveTo>
                      <a:pt x="1290837" y="2581673"/>
                    </a:moveTo>
                    <a:cubicBezTo>
                      <a:pt x="579066" y="2581673"/>
                      <a:pt x="0" y="2002607"/>
                      <a:pt x="0" y="1290837"/>
                    </a:cubicBezTo>
                    <a:cubicBezTo>
                      <a:pt x="0" y="579066"/>
                      <a:pt x="579066" y="0"/>
                      <a:pt x="1290837" y="0"/>
                    </a:cubicBezTo>
                    <a:cubicBezTo>
                      <a:pt x="2002607" y="0"/>
                      <a:pt x="2581673" y="579066"/>
                      <a:pt x="2581673" y="1290837"/>
                    </a:cubicBezTo>
                    <a:cubicBezTo>
                      <a:pt x="2581673" y="2002607"/>
                      <a:pt x="2002607" y="2581673"/>
                      <a:pt x="1290837" y="2581673"/>
                    </a:cubicBezTo>
                    <a:close/>
                    <a:moveTo>
                      <a:pt x="1290837" y="68761"/>
                    </a:moveTo>
                    <a:cubicBezTo>
                      <a:pt x="616992" y="68761"/>
                      <a:pt x="68830" y="616992"/>
                      <a:pt x="68830" y="1290768"/>
                    </a:cubicBezTo>
                    <a:cubicBezTo>
                      <a:pt x="68830" y="1964544"/>
                      <a:pt x="617060" y="2512774"/>
                      <a:pt x="1290837" y="2512774"/>
                    </a:cubicBezTo>
                    <a:cubicBezTo>
                      <a:pt x="1964613" y="2512774"/>
                      <a:pt x="2512843" y="1964544"/>
                      <a:pt x="2512843" y="1290768"/>
                    </a:cubicBezTo>
                    <a:cubicBezTo>
                      <a:pt x="2512843" y="616992"/>
                      <a:pt x="1964613" y="68761"/>
                      <a:pt x="1290837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2B9B0961-DDB7-E610-0884-505BE9718D7C}"/>
                  </a:ext>
                </a:extLst>
              </p:cNvPr>
              <p:cNvSpPr/>
              <p:nvPr/>
            </p:nvSpPr>
            <p:spPr>
              <a:xfrm rot="5400000">
                <a:off x="1550494" y="4082394"/>
                <a:ext cx="1707478" cy="1707480"/>
              </a:xfrm>
              <a:custGeom>
                <a:avLst/>
                <a:gdLst>
                  <a:gd name="connsiteX0" fmla="*/ 1426707 w 2853414"/>
                  <a:gd name="connsiteY0" fmla="*/ 2853414 h 2853414"/>
                  <a:gd name="connsiteX1" fmla="*/ 0 w 2853414"/>
                  <a:gd name="connsiteY1" fmla="*/ 1426707 h 2853414"/>
                  <a:gd name="connsiteX2" fmla="*/ 1426707 w 2853414"/>
                  <a:gd name="connsiteY2" fmla="*/ 0 h 2853414"/>
                  <a:gd name="connsiteX3" fmla="*/ 2853414 w 2853414"/>
                  <a:gd name="connsiteY3" fmla="*/ 1426707 h 2853414"/>
                  <a:gd name="connsiteX4" fmla="*/ 1426707 w 2853414"/>
                  <a:gd name="connsiteY4" fmla="*/ 2853414 h 2853414"/>
                  <a:gd name="connsiteX5" fmla="*/ 1426707 w 2853414"/>
                  <a:gd name="connsiteY5" fmla="*/ 68830 h 2853414"/>
                  <a:gd name="connsiteX6" fmla="*/ 68830 w 2853414"/>
                  <a:gd name="connsiteY6" fmla="*/ 1426707 h 2853414"/>
                  <a:gd name="connsiteX7" fmla="*/ 1426707 w 2853414"/>
                  <a:gd name="connsiteY7" fmla="*/ 2784584 h 2853414"/>
                  <a:gd name="connsiteX8" fmla="*/ 2784584 w 2853414"/>
                  <a:gd name="connsiteY8" fmla="*/ 1426707 h 2853414"/>
                  <a:gd name="connsiteX9" fmla="*/ 1426707 w 2853414"/>
                  <a:gd name="connsiteY9" fmla="*/ 68830 h 2853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3414" h="2853414">
                    <a:moveTo>
                      <a:pt x="1426707" y="2853414"/>
                    </a:moveTo>
                    <a:cubicBezTo>
                      <a:pt x="640050" y="2853414"/>
                      <a:pt x="0" y="2213433"/>
                      <a:pt x="0" y="1426707"/>
                    </a:cubicBezTo>
                    <a:cubicBezTo>
                      <a:pt x="0" y="639981"/>
                      <a:pt x="639981" y="0"/>
                      <a:pt x="1426707" y="0"/>
                    </a:cubicBezTo>
                    <a:cubicBezTo>
                      <a:pt x="2213433" y="0"/>
                      <a:pt x="2853414" y="639981"/>
                      <a:pt x="2853414" y="1426707"/>
                    </a:cubicBezTo>
                    <a:cubicBezTo>
                      <a:pt x="2853414" y="2213433"/>
                      <a:pt x="2213433" y="2853414"/>
                      <a:pt x="1426707" y="2853414"/>
                    </a:cubicBezTo>
                    <a:close/>
                    <a:moveTo>
                      <a:pt x="1426707" y="68830"/>
                    </a:moveTo>
                    <a:cubicBezTo>
                      <a:pt x="677975" y="68830"/>
                      <a:pt x="68830" y="677975"/>
                      <a:pt x="68830" y="1426707"/>
                    </a:cubicBezTo>
                    <a:cubicBezTo>
                      <a:pt x="68830" y="2175439"/>
                      <a:pt x="677975" y="2784584"/>
                      <a:pt x="1426707" y="2784584"/>
                    </a:cubicBezTo>
                    <a:cubicBezTo>
                      <a:pt x="2175439" y="2784584"/>
                      <a:pt x="2784584" y="2175439"/>
                      <a:pt x="2784584" y="1426707"/>
                    </a:cubicBezTo>
                    <a:cubicBezTo>
                      <a:pt x="2784584" y="677975"/>
                      <a:pt x="2175439" y="68830"/>
                      <a:pt x="1426707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59D0397C-76B9-5419-CDEF-E394CCC9F19E}"/>
                  </a:ext>
                </a:extLst>
              </p:cNvPr>
              <p:cNvSpPr/>
              <p:nvPr/>
            </p:nvSpPr>
            <p:spPr>
              <a:xfrm rot="5400000">
                <a:off x="1469272" y="4001172"/>
                <a:ext cx="1869922" cy="1869924"/>
              </a:xfrm>
              <a:custGeom>
                <a:avLst/>
                <a:gdLst>
                  <a:gd name="connsiteX0" fmla="*/ 1562440 w 3124879"/>
                  <a:gd name="connsiteY0" fmla="*/ 3124879 h 3124879"/>
                  <a:gd name="connsiteX1" fmla="*/ 457650 w 3124879"/>
                  <a:gd name="connsiteY1" fmla="*/ 2667229 h 3124879"/>
                  <a:gd name="connsiteX2" fmla="*/ 0 w 3124879"/>
                  <a:gd name="connsiteY2" fmla="*/ 1562440 h 3124879"/>
                  <a:gd name="connsiteX3" fmla="*/ 457650 w 3124879"/>
                  <a:gd name="connsiteY3" fmla="*/ 457650 h 3124879"/>
                  <a:gd name="connsiteX4" fmla="*/ 1562440 w 3124879"/>
                  <a:gd name="connsiteY4" fmla="*/ 0 h 3124879"/>
                  <a:gd name="connsiteX5" fmla="*/ 2667229 w 3124879"/>
                  <a:gd name="connsiteY5" fmla="*/ 457650 h 3124879"/>
                  <a:gd name="connsiteX6" fmla="*/ 3124879 w 3124879"/>
                  <a:gd name="connsiteY6" fmla="*/ 1562440 h 3124879"/>
                  <a:gd name="connsiteX7" fmla="*/ 2667229 w 3124879"/>
                  <a:gd name="connsiteY7" fmla="*/ 2667229 h 3124879"/>
                  <a:gd name="connsiteX8" fmla="*/ 1562440 w 3124879"/>
                  <a:gd name="connsiteY8" fmla="*/ 3124879 h 3124879"/>
                  <a:gd name="connsiteX9" fmla="*/ 1562440 w 3124879"/>
                  <a:gd name="connsiteY9" fmla="*/ 68830 h 3124879"/>
                  <a:gd name="connsiteX10" fmla="*/ 68830 w 3124879"/>
                  <a:gd name="connsiteY10" fmla="*/ 1562440 h 3124879"/>
                  <a:gd name="connsiteX11" fmla="*/ 1562440 w 3124879"/>
                  <a:gd name="connsiteY11" fmla="*/ 3056049 h 3124879"/>
                  <a:gd name="connsiteX12" fmla="*/ 3056049 w 3124879"/>
                  <a:gd name="connsiteY12" fmla="*/ 1562440 h 3124879"/>
                  <a:gd name="connsiteX13" fmla="*/ 1562440 w 3124879"/>
                  <a:gd name="connsiteY13" fmla="*/ 68830 h 3124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24879" h="3124879">
                    <a:moveTo>
                      <a:pt x="1562440" y="3124879"/>
                    </a:moveTo>
                    <a:cubicBezTo>
                      <a:pt x="1145124" y="3124879"/>
                      <a:pt x="752724" y="2962372"/>
                      <a:pt x="457650" y="2667229"/>
                    </a:cubicBezTo>
                    <a:cubicBezTo>
                      <a:pt x="162576" y="2372086"/>
                      <a:pt x="0" y="1979756"/>
                      <a:pt x="0" y="1562440"/>
                    </a:cubicBezTo>
                    <a:cubicBezTo>
                      <a:pt x="0" y="1145124"/>
                      <a:pt x="162507" y="752724"/>
                      <a:pt x="457650" y="457650"/>
                    </a:cubicBezTo>
                    <a:cubicBezTo>
                      <a:pt x="752793" y="162576"/>
                      <a:pt x="1145124" y="0"/>
                      <a:pt x="1562440" y="0"/>
                    </a:cubicBezTo>
                    <a:cubicBezTo>
                      <a:pt x="1979756" y="0"/>
                      <a:pt x="2372155" y="162507"/>
                      <a:pt x="2667229" y="457650"/>
                    </a:cubicBezTo>
                    <a:cubicBezTo>
                      <a:pt x="2962303" y="752724"/>
                      <a:pt x="3124879" y="1145124"/>
                      <a:pt x="3124879" y="1562440"/>
                    </a:cubicBezTo>
                    <a:cubicBezTo>
                      <a:pt x="3124879" y="1979756"/>
                      <a:pt x="2962372" y="2372155"/>
                      <a:pt x="2667229" y="2667229"/>
                    </a:cubicBezTo>
                    <a:cubicBezTo>
                      <a:pt x="2372086" y="2962303"/>
                      <a:pt x="1979756" y="3124879"/>
                      <a:pt x="1562440" y="3124879"/>
                    </a:cubicBezTo>
                    <a:close/>
                    <a:moveTo>
                      <a:pt x="1562440" y="68830"/>
                    </a:moveTo>
                    <a:cubicBezTo>
                      <a:pt x="738889" y="68830"/>
                      <a:pt x="68830" y="738889"/>
                      <a:pt x="68830" y="1562440"/>
                    </a:cubicBezTo>
                    <a:cubicBezTo>
                      <a:pt x="68830" y="2385990"/>
                      <a:pt x="738889" y="3056049"/>
                      <a:pt x="1562440" y="3056049"/>
                    </a:cubicBezTo>
                    <a:cubicBezTo>
                      <a:pt x="2385990" y="3056049"/>
                      <a:pt x="3056049" y="2385990"/>
                      <a:pt x="3056049" y="1562440"/>
                    </a:cubicBezTo>
                    <a:cubicBezTo>
                      <a:pt x="3056049" y="738889"/>
                      <a:pt x="2385990" y="68830"/>
                      <a:pt x="1562440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pic>
          <p:nvPicPr>
            <p:cNvPr id="21" name="Picture 20" descr="Diagram&#10;&#10;Description automatically generated">
              <a:extLst>
                <a:ext uri="{FF2B5EF4-FFF2-40B4-BE49-F238E27FC236}">
                  <a16:creationId xmlns:a16="http://schemas.microsoft.com/office/drawing/2014/main" id="{E6694CCE-1404-ED47-73A1-25D7CCEE9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46345" y="640100"/>
              <a:ext cx="2231890" cy="2231890"/>
            </a:xfrm>
            <a:prstGeom prst="rect">
              <a:avLst/>
            </a:prstGeom>
          </p:spPr>
        </p:pic>
      </p:grp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410B3CCA-72F5-3462-E8FE-A5FE97FAB1BB}"/>
              </a:ext>
            </a:extLst>
          </p:cNvPr>
          <p:cNvSpPr/>
          <p:nvPr/>
        </p:nvSpPr>
        <p:spPr>
          <a:xfrm>
            <a:off x="5952290" y="3517270"/>
            <a:ext cx="6159500" cy="3340730"/>
          </a:xfrm>
          <a:custGeom>
            <a:avLst/>
            <a:gdLst>
              <a:gd name="connsiteX0" fmla="*/ 637559 w 6159500"/>
              <a:gd name="connsiteY0" fmla="*/ 0 h 3340730"/>
              <a:gd name="connsiteX1" fmla="*/ 6159500 w 6159500"/>
              <a:gd name="connsiteY1" fmla="*/ 0 h 3340730"/>
              <a:gd name="connsiteX2" fmla="*/ 196850 w 6159500"/>
              <a:gd name="connsiteY2" fmla="*/ 3340730 h 3340730"/>
              <a:gd name="connsiteX3" fmla="*/ 0 w 6159500"/>
              <a:gd name="connsiteY3" fmla="*/ 3340730 h 3340730"/>
              <a:gd name="connsiteX4" fmla="*/ 0 w 6159500"/>
              <a:gd name="connsiteY4" fmla="*/ 637558 h 3340730"/>
              <a:gd name="connsiteX5" fmla="*/ 637559 w 6159500"/>
              <a:gd name="connsiteY5" fmla="*/ 0 h 3340730"/>
              <a:gd name="connsiteX0" fmla="*/ 196850 w 6159500"/>
              <a:gd name="connsiteY0" fmla="*/ 3340730 h 3432170"/>
              <a:gd name="connsiteX1" fmla="*/ 0 w 6159500"/>
              <a:gd name="connsiteY1" fmla="*/ 3340730 h 3432170"/>
              <a:gd name="connsiteX2" fmla="*/ 0 w 6159500"/>
              <a:gd name="connsiteY2" fmla="*/ 637558 h 3432170"/>
              <a:gd name="connsiteX3" fmla="*/ 637559 w 6159500"/>
              <a:gd name="connsiteY3" fmla="*/ 0 h 3432170"/>
              <a:gd name="connsiteX4" fmla="*/ 6159500 w 6159500"/>
              <a:gd name="connsiteY4" fmla="*/ 0 h 3432170"/>
              <a:gd name="connsiteX5" fmla="*/ 288290 w 6159500"/>
              <a:gd name="connsiteY5" fmla="*/ 3432170 h 3432170"/>
              <a:gd name="connsiteX0" fmla="*/ 196850 w 6159500"/>
              <a:gd name="connsiteY0" fmla="*/ 3340730 h 3340730"/>
              <a:gd name="connsiteX1" fmla="*/ 0 w 6159500"/>
              <a:gd name="connsiteY1" fmla="*/ 3340730 h 3340730"/>
              <a:gd name="connsiteX2" fmla="*/ 0 w 6159500"/>
              <a:gd name="connsiteY2" fmla="*/ 637558 h 3340730"/>
              <a:gd name="connsiteX3" fmla="*/ 637559 w 6159500"/>
              <a:gd name="connsiteY3" fmla="*/ 0 h 3340730"/>
              <a:gd name="connsiteX4" fmla="*/ 6159500 w 6159500"/>
              <a:gd name="connsiteY4" fmla="*/ 0 h 3340730"/>
              <a:gd name="connsiteX0" fmla="*/ 0 w 6159500"/>
              <a:gd name="connsiteY0" fmla="*/ 3340730 h 3340730"/>
              <a:gd name="connsiteX1" fmla="*/ 0 w 6159500"/>
              <a:gd name="connsiteY1" fmla="*/ 637558 h 3340730"/>
              <a:gd name="connsiteX2" fmla="*/ 637559 w 6159500"/>
              <a:gd name="connsiteY2" fmla="*/ 0 h 3340730"/>
              <a:gd name="connsiteX3" fmla="*/ 6159500 w 6159500"/>
              <a:gd name="connsiteY3" fmla="*/ 0 h 3340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59500" h="3340730">
                <a:moveTo>
                  <a:pt x="0" y="3340730"/>
                </a:moveTo>
                <a:lnTo>
                  <a:pt x="0" y="637558"/>
                </a:lnTo>
                <a:cubicBezTo>
                  <a:pt x="0" y="285445"/>
                  <a:pt x="285445" y="0"/>
                  <a:pt x="637559" y="0"/>
                </a:cubicBezTo>
                <a:lnTo>
                  <a:pt x="6159500" y="0"/>
                </a:lnTo>
              </a:path>
            </a:pathLst>
          </a:custGeom>
          <a:noFill/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AE977EF2-1B64-7F80-6F72-3EBF5D102F0A}"/>
              </a:ext>
            </a:extLst>
          </p:cNvPr>
          <p:cNvSpPr/>
          <p:nvPr/>
        </p:nvSpPr>
        <p:spPr>
          <a:xfrm>
            <a:off x="7959794" y="3482341"/>
            <a:ext cx="2446848" cy="6858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D352BF4A-17EA-EE73-EAD4-4A3CAA4BB27C}"/>
              </a:ext>
            </a:extLst>
          </p:cNvPr>
          <p:cNvCxnSpPr>
            <a:cxnSpLocks/>
          </p:cNvCxnSpPr>
          <p:nvPr/>
        </p:nvCxnSpPr>
        <p:spPr>
          <a:xfrm>
            <a:off x="6477000" y="5247315"/>
            <a:ext cx="5101281" cy="0"/>
          </a:xfrm>
          <a:prstGeom prst="line">
            <a:avLst/>
          </a:prstGeom>
          <a:ln cap="rnd">
            <a:solidFill>
              <a:schemeClr val="bg1">
                <a:alpha val="68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3865B21-D221-6596-B1CB-9FF969ED9489}"/>
              </a:ext>
            </a:extLst>
          </p:cNvPr>
          <p:cNvGrpSpPr/>
          <p:nvPr/>
        </p:nvGrpSpPr>
        <p:grpSpPr>
          <a:xfrm>
            <a:off x="5801042" y="4202843"/>
            <a:ext cx="6278663" cy="954107"/>
            <a:chOff x="6103837" y="4202843"/>
            <a:chExt cx="5491264" cy="95410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781C894-A74A-11D5-9768-A58BC9BF7B5F}"/>
                </a:ext>
              </a:extLst>
            </p:cNvPr>
            <p:cNvSpPr txBox="1">
              <a:spLocks/>
            </p:cNvSpPr>
            <p:nvPr/>
          </p:nvSpPr>
          <p:spPr>
            <a:xfrm>
              <a:off x="6572251" y="4202843"/>
              <a:ext cx="5022850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Mutually beneficial for our customers </a:t>
              </a:r>
              <a:r>
                <a:rPr kumimoji="0" lang="en-US" sz="2700" b="1" i="0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and </a:t>
              </a: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PepsiCo</a:t>
              </a: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BCC206DC-2DD7-1FCD-6F35-B10496AD4172}"/>
                </a:ext>
              </a:extLst>
            </p:cNvPr>
            <p:cNvGrpSpPr/>
            <p:nvPr/>
          </p:nvGrpSpPr>
          <p:grpSpPr>
            <a:xfrm>
              <a:off x="6103837" y="4288075"/>
              <a:ext cx="271293" cy="271293"/>
              <a:chOff x="6043010" y="8131597"/>
              <a:chExt cx="3314699" cy="3314700"/>
            </a:xfrm>
          </p:grpSpPr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ED98F47E-2E2D-8739-F81A-9270AC7F78A4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6669" t="14450" r="36669" b="14450"/>
              <a:stretch>
                <a:fillRect/>
              </a:stretch>
            </p:blipFill>
            <p:spPr>
              <a:xfrm>
                <a:off x="6043010" y="8131597"/>
                <a:ext cx="3314699" cy="3314700"/>
              </a:xfrm>
              <a:custGeom>
                <a:avLst/>
                <a:gdLst>
                  <a:gd name="connsiteX0" fmla="*/ 1657349 w 3314699"/>
                  <a:gd name="connsiteY0" fmla="*/ 0 h 3314700"/>
                  <a:gd name="connsiteX1" fmla="*/ 3314699 w 3314699"/>
                  <a:gd name="connsiteY1" fmla="*/ 1657350 h 3314700"/>
                  <a:gd name="connsiteX2" fmla="*/ 1657349 w 3314699"/>
                  <a:gd name="connsiteY2" fmla="*/ 3314700 h 3314700"/>
                  <a:gd name="connsiteX3" fmla="*/ 0 w 3314699"/>
                  <a:gd name="connsiteY3" fmla="*/ 1657350 h 3314700"/>
                  <a:gd name="connsiteX4" fmla="*/ 1657349 w 3314699"/>
                  <a:gd name="connsiteY4" fmla="*/ 0 h 331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699" h="3314700">
                    <a:moveTo>
                      <a:pt x="1657349" y="0"/>
                    </a:moveTo>
                    <a:cubicBezTo>
                      <a:pt x="2572678" y="0"/>
                      <a:pt x="3314699" y="742021"/>
                      <a:pt x="3314699" y="1657350"/>
                    </a:cubicBezTo>
                    <a:cubicBezTo>
                      <a:pt x="3314699" y="2572679"/>
                      <a:pt x="2572678" y="3314700"/>
                      <a:pt x="1657349" y="3314700"/>
                    </a:cubicBezTo>
                    <a:cubicBezTo>
                      <a:pt x="742020" y="3314700"/>
                      <a:pt x="0" y="2572679"/>
                      <a:pt x="0" y="1657350"/>
                    </a:cubicBezTo>
                    <a:cubicBezTo>
                      <a:pt x="0" y="742021"/>
                      <a:pt x="742020" y="0"/>
                      <a:pt x="1657349" y="0"/>
                    </a:cubicBezTo>
                    <a:close/>
                  </a:path>
                </a:pathLst>
              </a:custGeom>
              <a:ln w="3175">
                <a:solidFill>
                  <a:schemeClr val="bg1"/>
                </a:solidFill>
              </a:ln>
            </p:spPr>
          </p:pic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BBB9A0B3-E81C-714F-6140-DDE34199F18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02601" y="8691189"/>
                <a:ext cx="2195504" cy="2195505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</p:grp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EF753CDA-2422-A86D-59A8-EAF3DAEF96F7}"/>
              </a:ext>
            </a:extLst>
          </p:cNvPr>
          <p:cNvGrpSpPr/>
          <p:nvPr/>
        </p:nvGrpSpPr>
        <p:grpSpPr>
          <a:xfrm>
            <a:off x="5801042" y="5460789"/>
            <a:ext cx="6278663" cy="923330"/>
            <a:chOff x="6103837" y="5460789"/>
            <a:chExt cx="5491264" cy="92333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8EDB603-E414-268B-333F-3F7BA8176A9E}"/>
                </a:ext>
              </a:extLst>
            </p:cNvPr>
            <p:cNvSpPr txBox="1">
              <a:spLocks/>
            </p:cNvSpPr>
            <p:nvPr/>
          </p:nvSpPr>
          <p:spPr>
            <a:xfrm>
              <a:off x="6572251" y="5460789"/>
              <a:ext cx="5022850" cy="9233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Driving progress toward sustainability goals </a:t>
              </a:r>
              <a:r>
                <a:rPr kumimoji="0" lang="en-US" sz="2700" b="1" i="0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and</a:t>
              </a: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 commercial value</a:t>
              </a:r>
            </a:p>
          </p:txBody>
        </p: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C13D529B-8EF1-1844-9657-825F9657EA64}"/>
                </a:ext>
              </a:extLst>
            </p:cNvPr>
            <p:cNvGrpSpPr/>
            <p:nvPr/>
          </p:nvGrpSpPr>
          <p:grpSpPr>
            <a:xfrm>
              <a:off x="6103837" y="5573950"/>
              <a:ext cx="271293" cy="271293"/>
              <a:chOff x="6043010" y="8131597"/>
              <a:chExt cx="3314699" cy="3314700"/>
            </a:xfrm>
          </p:grpSpPr>
          <p:pic>
            <p:nvPicPr>
              <p:cNvPr id="145" name="Picture 144">
                <a:extLst>
                  <a:ext uri="{FF2B5EF4-FFF2-40B4-BE49-F238E27FC236}">
                    <a16:creationId xmlns:a16="http://schemas.microsoft.com/office/drawing/2014/main" id="{F7779CCF-59B1-D7A7-89C1-74992572D07D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6669" t="14450" r="36669" b="14450"/>
              <a:stretch>
                <a:fillRect/>
              </a:stretch>
            </p:blipFill>
            <p:spPr>
              <a:xfrm>
                <a:off x="6043010" y="8131597"/>
                <a:ext cx="3314699" cy="3314700"/>
              </a:xfrm>
              <a:custGeom>
                <a:avLst/>
                <a:gdLst>
                  <a:gd name="connsiteX0" fmla="*/ 1657349 w 3314699"/>
                  <a:gd name="connsiteY0" fmla="*/ 0 h 3314700"/>
                  <a:gd name="connsiteX1" fmla="*/ 3314699 w 3314699"/>
                  <a:gd name="connsiteY1" fmla="*/ 1657350 h 3314700"/>
                  <a:gd name="connsiteX2" fmla="*/ 1657349 w 3314699"/>
                  <a:gd name="connsiteY2" fmla="*/ 3314700 h 3314700"/>
                  <a:gd name="connsiteX3" fmla="*/ 0 w 3314699"/>
                  <a:gd name="connsiteY3" fmla="*/ 1657350 h 3314700"/>
                  <a:gd name="connsiteX4" fmla="*/ 1657349 w 3314699"/>
                  <a:gd name="connsiteY4" fmla="*/ 0 h 331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699" h="3314700">
                    <a:moveTo>
                      <a:pt x="1657349" y="0"/>
                    </a:moveTo>
                    <a:cubicBezTo>
                      <a:pt x="2572678" y="0"/>
                      <a:pt x="3314699" y="742021"/>
                      <a:pt x="3314699" y="1657350"/>
                    </a:cubicBezTo>
                    <a:cubicBezTo>
                      <a:pt x="3314699" y="2572679"/>
                      <a:pt x="2572678" y="3314700"/>
                      <a:pt x="1657349" y="3314700"/>
                    </a:cubicBezTo>
                    <a:cubicBezTo>
                      <a:pt x="742020" y="3314700"/>
                      <a:pt x="0" y="2572679"/>
                      <a:pt x="0" y="1657350"/>
                    </a:cubicBezTo>
                    <a:cubicBezTo>
                      <a:pt x="0" y="742021"/>
                      <a:pt x="742020" y="0"/>
                      <a:pt x="1657349" y="0"/>
                    </a:cubicBezTo>
                    <a:close/>
                  </a:path>
                </a:pathLst>
              </a:custGeom>
              <a:ln w="3175">
                <a:solidFill>
                  <a:schemeClr val="bg1"/>
                </a:solidFill>
              </a:ln>
            </p:spPr>
          </p:pic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0CFCB821-9D77-595D-B3C0-7476B8DE23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02601" y="8691189"/>
                <a:ext cx="2195504" cy="2195505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</p:grpSp>
      </p:grpSp>
      <p:sp>
        <p:nvSpPr>
          <p:cNvPr id="149" name="object 54">
            <a:extLst>
              <a:ext uri="{FF2B5EF4-FFF2-40B4-BE49-F238E27FC236}">
                <a16:creationId xmlns:a16="http://schemas.microsoft.com/office/drawing/2014/main" id="{CCD97C72-08C1-9182-64EA-173AB796784B}"/>
              </a:ext>
            </a:extLst>
          </p:cNvPr>
          <p:cNvSpPr/>
          <p:nvPr/>
        </p:nvSpPr>
        <p:spPr>
          <a:xfrm>
            <a:off x="787399" y="5716782"/>
            <a:ext cx="474345" cy="474345"/>
          </a:xfrm>
          <a:custGeom>
            <a:avLst/>
            <a:gdLst/>
            <a:ahLst/>
            <a:cxnLst/>
            <a:rect l="l" t="t" r="r" b="b"/>
            <a:pathLst>
              <a:path w="474345" h="474345">
                <a:moveTo>
                  <a:pt x="267887" y="0"/>
                </a:moveTo>
                <a:lnTo>
                  <a:pt x="206224" y="0"/>
                </a:lnTo>
                <a:lnTo>
                  <a:pt x="194722" y="2338"/>
                </a:lnTo>
                <a:lnTo>
                  <a:pt x="185303" y="8706"/>
                </a:lnTo>
                <a:lnTo>
                  <a:pt x="178939" y="18129"/>
                </a:lnTo>
                <a:lnTo>
                  <a:pt x="176601" y="29632"/>
                </a:lnTo>
                <a:lnTo>
                  <a:pt x="176601" y="176601"/>
                </a:lnTo>
                <a:lnTo>
                  <a:pt x="29622" y="176601"/>
                </a:lnTo>
                <a:lnTo>
                  <a:pt x="18120" y="178940"/>
                </a:lnTo>
                <a:lnTo>
                  <a:pt x="8701" y="185308"/>
                </a:lnTo>
                <a:lnTo>
                  <a:pt x="2337" y="194730"/>
                </a:lnTo>
                <a:lnTo>
                  <a:pt x="0" y="206234"/>
                </a:lnTo>
                <a:lnTo>
                  <a:pt x="0" y="267887"/>
                </a:lnTo>
                <a:lnTo>
                  <a:pt x="2337" y="279389"/>
                </a:lnTo>
                <a:lnTo>
                  <a:pt x="8701" y="288807"/>
                </a:lnTo>
                <a:lnTo>
                  <a:pt x="18120" y="295171"/>
                </a:lnTo>
                <a:lnTo>
                  <a:pt x="29622" y="297509"/>
                </a:lnTo>
                <a:lnTo>
                  <a:pt x="176601" y="297509"/>
                </a:lnTo>
                <a:lnTo>
                  <a:pt x="176601" y="444489"/>
                </a:lnTo>
                <a:lnTo>
                  <a:pt x="178939" y="455991"/>
                </a:lnTo>
                <a:lnTo>
                  <a:pt x="185303" y="465409"/>
                </a:lnTo>
                <a:lnTo>
                  <a:pt x="194722" y="471773"/>
                </a:lnTo>
                <a:lnTo>
                  <a:pt x="206224" y="474111"/>
                </a:lnTo>
                <a:lnTo>
                  <a:pt x="267887" y="474111"/>
                </a:lnTo>
                <a:lnTo>
                  <a:pt x="279389" y="471773"/>
                </a:lnTo>
                <a:lnTo>
                  <a:pt x="288807" y="465409"/>
                </a:lnTo>
                <a:lnTo>
                  <a:pt x="295171" y="455991"/>
                </a:lnTo>
                <a:lnTo>
                  <a:pt x="297509" y="444489"/>
                </a:lnTo>
                <a:lnTo>
                  <a:pt x="297509" y="297509"/>
                </a:lnTo>
                <a:lnTo>
                  <a:pt x="444489" y="297509"/>
                </a:lnTo>
                <a:lnTo>
                  <a:pt x="455991" y="295171"/>
                </a:lnTo>
                <a:lnTo>
                  <a:pt x="465409" y="288807"/>
                </a:lnTo>
                <a:lnTo>
                  <a:pt x="471773" y="279389"/>
                </a:lnTo>
                <a:lnTo>
                  <a:pt x="474111" y="267887"/>
                </a:lnTo>
                <a:lnTo>
                  <a:pt x="474111" y="206234"/>
                </a:lnTo>
                <a:lnTo>
                  <a:pt x="471773" y="194730"/>
                </a:lnTo>
                <a:lnTo>
                  <a:pt x="465409" y="185308"/>
                </a:lnTo>
                <a:lnTo>
                  <a:pt x="455991" y="178940"/>
                </a:lnTo>
                <a:lnTo>
                  <a:pt x="444489" y="176601"/>
                </a:lnTo>
                <a:lnTo>
                  <a:pt x="297509" y="176601"/>
                </a:lnTo>
                <a:lnTo>
                  <a:pt x="297509" y="29632"/>
                </a:lnTo>
                <a:lnTo>
                  <a:pt x="295171" y="18129"/>
                </a:lnTo>
                <a:lnTo>
                  <a:pt x="288807" y="8706"/>
                </a:lnTo>
                <a:lnTo>
                  <a:pt x="279389" y="2338"/>
                </a:lnTo>
                <a:lnTo>
                  <a:pt x="267887" y="0"/>
                </a:lnTo>
                <a:close/>
              </a:path>
            </a:pathLst>
          </a:custGeom>
          <a:solidFill>
            <a:srgbClr val="FFC62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56">
            <a:extLst>
              <a:ext uri="{FF2B5EF4-FFF2-40B4-BE49-F238E27FC236}">
                <a16:creationId xmlns:a16="http://schemas.microsoft.com/office/drawing/2014/main" id="{EAA13ABF-B9A3-5324-CB30-D121145188B9}"/>
              </a:ext>
            </a:extLst>
          </p:cNvPr>
          <p:cNvSpPr/>
          <p:nvPr/>
        </p:nvSpPr>
        <p:spPr>
          <a:xfrm>
            <a:off x="1263318" y="5423749"/>
            <a:ext cx="290830" cy="290830"/>
          </a:xfrm>
          <a:custGeom>
            <a:avLst/>
            <a:gdLst/>
            <a:ahLst/>
            <a:cxnLst/>
            <a:rect l="l" t="t" r="r" b="b"/>
            <a:pathLst>
              <a:path w="290830" h="290829">
                <a:moveTo>
                  <a:pt x="164152" y="0"/>
                </a:moveTo>
                <a:lnTo>
                  <a:pt x="126373" y="0"/>
                </a:lnTo>
                <a:lnTo>
                  <a:pt x="119321" y="1433"/>
                </a:lnTo>
                <a:lnTo>
                  <a:pt x="113548" y="5336"/>
                </a:lnTo>
                <a:lnTo>
                  <a:pt x="109648" y="11109"/>
                </a:lnTo>
                <a:lnTo>
                  <a:pt x="108216" y="18156"/>
                </a:lnTo>
                <a:lnTo>
                  <a:pt x="108216" y="108216"/>
                </a:lnTo>
                <a:lnTo>
                  <a:pt x="18156" y="108216"/>
                </a:lnTo>
                <a:lnTo>
                  <a:pt x="11105" y="109650"/>
                </a:lnTo>
                <a:lnTo>
                  <a:pt x="5332" y="113552"/>
                </a:lnTo>
                <a:lnTo>
                  <a:pt x="1432" y="119326"/>
                </a:lnTo>
                <a:lnTo>
                  <a:pt x="0" y="126373"/>
                </a:lnTo>
                <a:lnTo>
                  <a:pt x="0" y="164152"/>
                </a:lnTo>
                <a:lnTo>
                  <a:pt x="1432" y="171198"/>
                </a:lnTo>
                <a:lnTo>
                  <a:pt x="5332" y="176972"/>
                </a:lnTo>
                <a:lnTo>
                  <a:pt x="11105" y="180874"/>
                </a:lnTo>
                <a:lnTo>
                  <a:pt x="18156" y="182308"/>
                </a:lnTo>
                <a:lnTo>
                  <a:pt x="108216" y="182308"/>
                </a:lnTo>
                <a:lnTo>
                  <a:pt x="108216" y="272368"/>
                </a:lnTo>
                <a:lnTo>
                  <a:pt x="109648" y="279419"/>
                </a:lnTo>
                <a:lnTo>
                  <a:pt x="113548" y="285192"/>
                </a:lnTo>
                <a:lnTo>
                  <a:pt x="119321" y="289092"/>
                </a:lnTo>
                <a:lnTo>
                  <a:pt x="126373" y="290525"/>
                </a:lnTo>
                <a:lnTo>
                  <a:pt x="164152" y="290525"/>
                </a:lnTo>
                <a:lnTo>
                  <a:pt x="171203" y="289092"/>
                </a:lnTo>
                <a:lnTo>
                  <a:pt x="176976" y="285192"/>
                </a:lnTo>
                <a:lnTo>
                  <a:pt x="180876" y="279419"/>
                </a:lnTo>
                <a:lnTo>
                  <a:pt x="182308" y="272368"/>
                </a:lnTo>
                <a:lnTo>
                  <a:pt x="182308" y="182308"/>
                </a:lnTo>
                <a:lnTo>
                  <a:pt x="272368" y="182308"/>
                </a:lnTo>
                <a:lnTo>
                  <a:pt x="279419" y="180874"/>
                </a:lnTo>
                <a:lnTo>
                  <a:pt x="285192" y="176972"/>
                </a:lnTo>
                <a:lnTo>
                  <a:pt x="289092" y="171198"/>
                </a:lnTo>
                <a:lnTo>
                  <a:pt x="290525" y="164152"/>
                </a:lnTo>
                <a:lnTo>
                  <a:pt x="290525" y="126373"/>
                </a:lnTo>
                <a:lnTo>
                  <a:pt x="289092" y="119326"/>
                </a:lnTo>
                <a:lnTo>
                  <a:pt x="285192" y="113552"/>
                </a:lnTo>
                <a:lnTo>
                  <a:pt x="279419" y="109650"/>
                </a:lnTo>
                <a:lnTo>
                  <a:pt x="272368" y="108216"/>
                </a:lnTo>
                <a:lnTo>
                  <a:pt x="182308" y="108216"/>
                </a:lnTo>
                <a:lnTo>
                  <a:pt x="182308" y="18156"/>
                </a:lnTo>
                <a:lnTo>
                  <a:pt x="180876" y="11109"/>
                </a:lnTo>
                <a:lnTo>
                  <a:pt x="176976" y="5336"/>
                </a:lnTo>
                <a:lnTo>
                  <a:pt x="171203" y="1433"/>
                </a:lnTo>
                <a:lnTo>
                  <a:pt x="164152" y="0"/>
                </a:lnTo>
                <a:close/>
              </a:path>
            </a:pathLst>
          </a:custGeom>
          <a:solidFill>
            <a:srgbClr val="4FD9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31">
            <a:extLst>
              <a:ext uri="{FF2B5EF4-FFF2-40B4-BE49-F238E27FC236}">
                <a16:creationId xmlns:a16="http://schemas.microsoft.com/office/drawing/2014/main" id="{852225A8-5C58-5C05-AAC6-FF533E80C300}"/>
              </a:ext>
            </a:extLst>
          </p:cNvPr>
          <p:cNvSpPr/>
          <p:nvPr/>
        </p:nvSpPr>
        <p:spPr>
          <a:xfrm>
            <a:off x="5080744" y="181051"/>
            <a:ext cx="445770" cy="514350"/>
          </a:xfrm>
          <a:custGeom>
            <a:avLst/>
            <a:gdLst/>
            <a:ahLst/>
            <a:cxnLst/>
            <a:rect l="l" t="t" r="r" b="b"/>
            <a:pathLst>
              <a:path w="445769" h="514350">
                <a:moveTo>
                  <a:pt x="20650" y="235432"/>
                </a:moveTo>
                <a:lnTo>
                  <a:pt x="20002" y="234696"/>
                </a:lnTo>
                <a:lnTo>
                  <a:pt x="19519" y="234950"/>
                </a:lnTo>
                <a:lnTo>
                  <a:pt x="20650" y="235432"/>
                </a:lnTo>
                <a:close/>
              </a:path>
              <a:path w="445769" h="514350">
                <a:moveTo>
                  <a:pt x="24422" y="232410"/>
                </a:moveTo>
                <a:lnTo>
                  <a:pt x="19697" y="231140"/>
                </a:lnTo>
                <a:lnTo>
                  <a:pt x="18821" y="232410"/>
                </a:lnTo>
                <a:lnTo>
                  <a:pt x="17970" y="232410"/>
                </a:lnTo>
                <a:lnTo>
                  <a:pt x="20002" y="234696"/>
                </a:lnTo>
                <a:lnTo>
                  <a:pt x="24422" y="232410"/>
                </a:lnTo>
                <a:close/>
              </a:path>
              <a:path w="445769" h="514350">
                <a:moveTo>
                  <a:pt x="57772" y="282422"/>
                </a:moveTo>
                <a:lnTo>
                  <a:pt x="57734" y="281546"/>
                </a:lnTo>
                <a:lnTo>
                  <a:pt x="57543" y="281000"/>
                </a:lnTo>
                <a:lnTo>
                  <a:pt x="57543" y="280187"/>
                </a:lnTo>
                <a:lnTo>
                  <a:pt x="56629" y="280492"/>
                </a:lnTo>
                <a:lnTo>
                  <a:pt x="55765" y="280758"/>
                </a:lnTo>
                <a:lnTo>
                  <a:pt x="55003" y="281317"/>
                </a:lnTo>
                <a:lnTo>
                  <a:pt x="55308" y="282333"/>
                </a:lnTo>
                <a:lnTo>
                  <a:pt x="55460" y="282790"/>
                </a:lnTo>
                <a:lnTo>
                  <a:pt x="56159" y="283387"/>
                </a:lnTo>
                <a:lnTo>
                  <a:pt x="57721" y="283387"/>
                </a:lnTo>
                <a:lnTo>
                  <a:pt x="57772" y="282422"/>
                </a:lnTo>
                <a:close/>
              </a:path>
              <a:path w="445769" h="514350">
                <a:moveTo>
                  <a:pt x="226923" y="324650"/>
                </a:moveTo>
                <a:lnTo>
                  <a:pt x="226809" y="324027"/>
                </a:lnTo>
                <a:lnTo>
                  <a:pt x="225425" y="324662"/>
                </a:lnTo>
                <a:lnTo>
                  <a:pt x="226923" y="324650"/>
                </a:lnTo>
                <a:close/>
              </a:path>
              <a:path w="445769" h="514350">
                <a:moveTo>
                  <a:pt x="230339" y="324637"/>
                </a:moveTo>
                <a:lnTo>
                  <a:pt x="226923" y="324650"/>
                </a:lnTo>
                <a:lnTo>
                  <a:pt x="227647" y="328510"/>
                </a:lnTo>
                <a:lnTo>
                  <a:pt x="230339" y="324637"/>
                </a:lnTo>
                <a:close/>
              </a:path>
              <a:path w="445769" h="514350">
                <a:moveTo>
                  <a:pt x="445731" y="238760"/>
                </a:moveTo>
                <a:lnTo>
                  <a:pt x="443598" y="237490"/>
                </a:lnTo>
                <a:lnTo>
                  <a:pt x="438404" y="233680"/>
                </a:lnTo>
                <a:lnTo>
                  <a:pt x="439064" y="229870"/>
                </a:lnTo>
                <a:lnTo>
                  <a:pt x="442887" y="228600"/>
                </a:lnTo>
                <a:lnTo>
                  <a:pt x="442036" y="223520"/>
                </a:lnTo>
                <a:lnTo>
                  <a:pt x="436664" y="228600"/>
                </a:lnTo>
                <a:lnTo>
                  <a:pt x="436092" y="227330"/>
                </a:lnTo>
                <a:lnTo>
                  <a:pt x="435521" y="226060"/>
                </a:lnTo>
                <a:lnTo>
                  <a:pt x="433247" y="220980"/>
                </a:lnTo>
                <a:lnTo>
                  <a:pt x="431292" y="222250"/>
                </a:lnTo>
                <a:lnTo>
                  <a:pt x="427990" y="223520"/>
                </a:lnTo>
                <a:lnTo>
                  <a:pt x="417233" y="226060"/>
                </a:lnTo>
                <a:lnTo>
                  <a:pt x="411772" y="226060"/>
                </a:lnTo>
                <a:lnTo>
                  <a:pt x="406285" y="223520"/>
                </a:lnTo>
                <a:lnTo>
                  <a:pt x="404266" y="223520"/>
                </a:lnTo>
                <a:lnTo>
                  <a:pt x="401434" y="227330"/>
                </a:lnTo>
                <a:lnTo>
                  <a:pt x="399376" y="227330"/>
                </a:lnTo>
                <a:lnTo>
                  <a:pt x="393547" y="223520"/>
                </a:lnTo>
                <a:lnTo>
                  <a:pt x="389839" y="222250"/>
                </a:lnTo>
                <a:lnTo>
                  <a:pt x="386524" y="220980"/>
                </a:lnTo>
                <a:lnTo>
                  <a:pt x="384784" y="227330"/>
                </a:lnTo>
                <a:lnTo>
                  <a:pt x="382638" y="223520"/>
                </a:lnTo>
                <a:lnTo>
                  <a:pt x="381000" y="222250"/>
                </a:lnTo>
                <a:lnTo>
                  <a:pt x="377710" y="219710"/>
                </a:lnTo>
                <a:lnTo>
                  <a:pt x="374713" y="219710"/>
                </a:lnTo>
                <a:lnTo>
                  <a:pt x="373126" y="220256"/>
                </a:lnTo>
                <a:lnTo>
                  <a:pt x="373126" y="274320"/>
                </a:lnTo>
                <a:lnTo>
                  <a:pt x="372935" y="274320"/>
                </a:lnTo>
                <a:lnTo>
                  <a:pt x="371436" y="275590"/>
                </a:lnTo>
                <a:lnTo>
                  <a:pt x="370027" y="274320"/>
                </a:lnTo>
                <a:lnTo>
                  <a:pt x="368350" y="274320"/>
                </a:lnTo>
                <a:lnTo>
                  <a:pt x="368985" y="273773"/>
                </a:lnTo>
                <a:lnTo>
                  <a:pt x="370027" y="274243"/>
                </a:lnTo>
                <a:lnTo>
                  <a:pt x="371436" y="275247"/>
                </a:lnTo>
                <a:lnTo>
                  <a:pt x="372999" y="273862"/>
                </a:lnTo>
                <a:lnTo>
                  <a:pt x="373126" y="274320"/>
                </a:lnTo>
                <a:lnTo>
                  <a:pt x="373126" y="220256"/>
                </a:lnTo>
                <a:lnTo>
                  <a:pt x="367284" y="222250"/>
                </a:lnTo>
                <a:lnTo>
                  <a:pt x="363816" y="220980"/>
                </a:lnTo>
                <a:lnTo>
                  <a:pt x="363867" y="212090"/>
                </a:lnTo>
                <a:lnTo>
                  <a:pt x="362000" y="210820"/>
                </a:lnTo>
                <a:lnTo>
                  <a:pt x="359892" y="209550"/>
                </a:lnTo>
                <a:lnTo>
                  <a:pt x="354215" y="205740"/>
                </a:lnTo>
                <a:lnTo>
                  <a:pt x="351586" y="203212"/>
                </a:lnTo>
                <a:lnTo>
                  <a:pt x="351586" y="280746"/>
                </a:lnTo>
                <a:lnTo>
                  <a:pt x="351472" y="280492"/>
                </a:lnTo>
                <a:lnTo>
                  <a:pt x="351586" y="280746"/>
                </a:lnTo>
                <a:lnTo>
                  <a:pt x="351586" y="203212"/>
                </a:lnTo>
                <a:lnTo>
                  <a:pt x="350278" y="201955"/>
                </a:lnTo>
                <a:lnTo>
                  <a:pt x="350278" y="279857"/>
                </a:lnTo>
                <a:lnTo>
                  <a:pt x="349542" y="279768"/>
                </a:lnTo>
                <a:lnTo>
                  <a:pt x="349732" y="279781"/>
                </a:lnTo>
                <a:lnTo>
                  <a:pt x="349999" y="279806"/>
                </a:lnTo>
                <a:lnTo>
                  <a:pt x="350189" y="279844"/>
                </a:lnTo>
                <a:lnTo>
                  <a:pt x="350278" y="201955"/>
                </a:lnTo>
                <a:lnTo>
                  <a:pt x="349986" y="201676"/>
                </a:lnTo>
                <a:lnTo>
                  <a:pt x="349986" y="278841"/>
                </a:lnTo>
                <a:lnTo>
                  <a:pt x="349567" y="279095"/>
                </a:lnTo>
                <a:lnTo>
                  <a:pt x="349567" y="279717"/>
                </a:lnTo>
                <a:lnTo>
                  <a:pt x="349262" y="279730"/>
                </a:lnTo>
                <a:lnTo>
                  <a:pt x="348792" y="279704"/>
                </a:lnTo>
                <a:lnTo>
                  <a:pt x="348983" y="279704"/>
                </a:lnTo>
                <a:lnTo>
                  <a:pt x="349173" y="279717"/>
                </a:lnTo>
                <a:lnTo>
                  <a:pt x="349567" y="279717"/>
                </a:lnTo>
                <a:lnTo>
                  <a:pt x="349567" y="279095"/>
                </a:lnTo>
                <a:lnTo>
                  <a:pt x="349338" y="279222"/>
                </a:lnTo>
                <a:lnTo>
                  <a:pt x="349986" y="278841"/>
                </a:lnTo>
                <a:lnTo>
                  <a:pt x="349986" y="201676"/>
                </a:lnTo>
                <a:lnTo>
                  <a:pt x="348932" y="200660"/>
                </a:lnTo>
                <a:lnTo>
                  <a:pt x="343192" y="198120"/>
                </a:lnTo>
                <a:lnTo>
                  <a:pt x="329463" y="194310"/>
                </a:lnTo>
                <a:lnTo>
                  <a:pt x="323684" y="190500"/>
                </a:lnTo>
                <a:lnTo>
                  <a:pt x="312839" y="182880"/>
                </a:lnTo>
                <a:lnTo>
                  <a:pt x="308546" y="180340"/>
                </a:lnTo>
                <a:lnTo>
                  <a:pt x="306895" y="179666"/>
                </a:lnTo>
                <a:lnTo>
                  <a:pt x="306895" y="251421"/>
                </a:lnTo>
                <a:lnTo>
                  <a:pt x="305955" y="254000"/>
                </a:lnTo>
                <a:lnTo>
                  <a:pt x="303834" y="254000"/>
                </a:lnTo>
                <a:lnTo>
                  <a:pt x="302945" y="251460"/>
                </a:lnTo>
                <a:lnTo>
                  <a:pt x="303314" y="251460"/>
                </a:lnTo>
                <a:lnTo>
                  <a:pt x="303834" y="253111"/>
                </a:lnTo>
                <a:lnTo>
                  <a:pt x="305955" y="252780"/>
                </a:lnTo>
                <a:lnTo>
                  <a:pt x="306895" y="251421"/>
                </a:lnTo>
                <a:lnTo>
                  <a:pt x="306895" y="179666"/>
                </a:lnTo>
                <a:lnTo>
                  <a:pt x="302336" y="177800"/>
                </a:lnTo>
                <a:lnTo>
                  <a:pt x="302272" y="177609"/>
                </a:lnTo>
                <a:lnTo>
                  <a:pt x="302272" y="250190"/>
                </a:lnTo>
                <a:lnTo>
                  <a:pt x="295732" y="252730"/>
                </a:lnTo>
                <a:lnTo>
                  <a:pt x="292201" y="257810"/>
                </a:lnTo>
                <a:lnTo>
                  <a:pt x="285216" y="264160"/>
                </a:lnTo>
                <a:lnTo>
                  <a:pt x="283298" y="265430"/>
                </a:lnTo>
                <a:lnTo>
                  <a:pt x="282867" y="269240"/>
                </a:lnTo>
                <a:lnTo>
                  <a:pt x="282041" y="270510"/>
                </a:lnTo>
                <a:lnTo>
                  <a:pt x="281520" y="270510"/>
                </a:lnTo>
                <a:lnTo>
                  <a:pt x="274294" y="273050"/>
                </a:lnTo>
                <a:lnTo>
                  <a:pt x="268490" y="278130"/>
                </a:lnTo>
                <a:lnTo>
                  <a:pt x="262940" y="283210"/>
                </a:lnTo>
                <a:lnTo>
                  <a:pt x="256489" y="287020"/>
                </a:lnTo>
                <a:lnTo>
                  <a:pt x="254812" y="287020"/>
                </a:lnTo>
                <a:lnTo>
                  <a:pt x="251637" y="294640"/>
                </a:lnTo>
                <a:lnTo>
                  <a:pt x="251460" y="296722"/>
                </a:lnTo>
                <a:lnTo>
                  <a:pt x="251333" y="298450"/>
                </a:lnTo>
                <a:lnTo>
                  <a:pt x="246621" y="298450"/>
                </a:lnTo>
                <a:lnTo>
                  <a:pt x="246989" y="297916"/>
                </a:lnTo>
                <a:lnTo>
                  <a:pt x="246087" y="297916"/>
                </a:lnTo>
                <a:lnTo>
                  <a:pt x="246113" y="298450"/>
                </a:lnTo>
                <a:lnTo>
                  <a:pt x="246113" y="299199"/>
                </a:lnTo>
                <a:lnTo>
                  <a:pt x="245287" y="300418"/>
                </a:lnTo>
                <a:lnTo>
                  <a:pt x="240538" y="304825"/>
                </a:lnTo>
                <a:lnTo>
                  <a:pt x="240360" y="304825"/>
                </a:lnTo>
                <a:lnTo>
                  <a:pt x="240487" y="304888"/>
                </a:lnTo>
                <a:lnTo>
                  <a:pt x="246443" y="305765"/>
                </a:lnTo>
                <a:lnTo>
                  <a:pt x="246468" y="306070"/>
                </a:lnTo>
                <a:lnTo>
                  <a:pt x="241604" y="306070"/>
                </a:lnTo>
                <a:lnTo>
                  <a:pt x="240449" y="304914"/>
                </a:lnTo>
                <a:lnTo>
                  <a:pt x="238607" y="306616"/>
                </a:lnTo>
                <a:lnTo>
                  <a:pt x="236613" y="308216"/>
                </a:lnTo>
                <a:lnTo>
                  <a:pt x="236004" y="308584"/>
                </a:lnTo>
                <a:lnTo>
                  <a:pt x="243243" y="309778"/>
                </a:lnTo>
                <a:lnTo>
                  <a:pt x="243547" y="309143"/>
                </a:lnTo>
                <a:lnTo>
                  <a:pt x="243751" y="308889"/>
                </a:lnTo>
                <a:lnTo>
                  <a:pt x="243852" y="309880"/>
                </a:lnTo>
                <a:lnTo>
                  <a:pt x="243243" y="309880"/>
                </a:lnTo>
                <a:lnTo>
                  <a:pt x="242697" y="309803"/>
                </a:lnTo>
                <a:lnTo>
                  <a:pt x="242697" y="379895"/>
                </a:lnTo>
                <a:lnTo>
                  <a:pt x="241947" y="379056"/>
                </a:lnTo>
                <a:lnTo>
                  <a:pt x="242697" y="379895"/>
                </a:lnTo>
                <a:lnTo>
                  <a:pt x="242697" y="309803"/>
                </a:lnTo>
                <a:lnTo>
                  <a:pt x="235724" y="308762"/>
                </a:lnTo>
                <a:lnTo>
                  <a:pt x="236004" y="308584"/>
                </a:lnTo>
                <a:lnTo>
                  <a:pt x="234784" y="308381"/>
                </a:lnTo>
                <a:lnTo>
                  <a:pt x="231825" y="310972"/>
                </a:lnTo>
                <a:lnTo>
                  <a:pt x="231838" y="311137"/>
                </a:lnTo>
                <a:lnTo>
                  <a:pt x="231978" y="312229"/>
                </a:lnTo>
                <a:lnTo>
                  <a:pt x="230479" y="318516"/>
                </a:lnTo>
                <a:lnTo>
                  <a:pt x="231825" y="323367"/>
                </a:lnTo>
                <a:lnTo>
                  <a:pt x="233540" y="323151"/>
                </a:lnTo>
                <a:lnTo>
                  <a:pt x="233641" y="323850"/>
                </a:lnTo>
                <a:lnTo>
                  <a:pt x="232321" y="323850"/>
                </a:lnTo>
                <a:lnTo>
                  <a:pt x="232321" y="496277"/>
                </a:lnTo>
                <a:lnTo>
                  <a:pt x="231267" y="499719"/>
                </a:lnTo>
                <a:lnTo>
                  <a:pt x="230251" y="500418"/>
                </a:lnTo>
                <a:lnTo>
                  <a:pt x="228396" y="498970"/>
                </a:lnTo>
                <a:lnTo>
                  <a:pt x="227368" y="497230"/>
                </a:lnTo>
                <a:lnTo>
                  <a:pt x="227799" y="494614"/>
                </a:lnTo>
                <a:lnTo>
                  <a:pt x="228549" y="496404"/>
                </a:lnTo>
                <a:lnTo>
                  <a:pt x="232321" y="496277"/>
                </a:lnTo>
                <a:lnTo>
                  <a:pt x="232321" y="323850"/>
                </a:lnTo>
                <a:lnTo>
                  <a:pt x="231952" y="323850"/>
                </a:lnTo>
                <a:lnTo>
                  <a:pt x="231825" y="323367"/>
                </a:lnTo>
                <a:lnTo>
                  <a:pt x="231152" y="323456"/>
                </a:lnTo>
                <a:lnTo>
                  <a:pt x="230339" y="324637"/>
                </a:lnTo>
                <a:lnTo>
                  <a:pt x="230606" y="324637"/>
                </a:lnTo>
                <a:lnTo>
                  <a:pt x="227647" y="328930"/>
                </a:lnTo>
                <a:lnTo>
                  <a:pt x="226796" y="325120"/>
                </a:lnTo>
                <a:lnTo>
                  <a:pt x="224751" y="325120"/>
                </a:lnTo>
                <a:lnTo>
                  <a:pt x="224701" y="324980"/>
                </a:lnTo>
                <a:lnTo>
                  <a:pt x="225425" y="324662"/>
                </a:lnTo>
                <a:lnTo>
                  <a:pt x="224561" y="324662"/>
                </a:lnTo>
                <a:lnTo>
                  <a:pt x="224078" y="324662"/>
                </a:lnTo>
                <a:lnTo>
                  <a:pt x="223596" y="325755"/>
                </a:lnTo>
                <a:lnTo>
                  <a:pt x="224574" y="332600"/>
                </a:lnTo>
                <a:lnTo>
                  <a:pt x="219392" y="336918"/>
                </a:lnTo>
                <a:lnTo>
                  <a:pt x="218770" y="342671"/>
                </a:lnTo>
                <a:lnTo>
                  <a:pt x="218617" y="343027"/>
                </a:lnTo>
                <a:lnTo>
                  <a:pt x="219024" y="343242"/>
                </a:lnTo>
                <a:lnTo>
                  <a:pt x="219227" y="343484"/>
                </a:lnTo>
                <a:lnTo>
                  <a:pt x="222872" y="337769"/>
                </a:lnTo>
                <a:lnTo>
                  <a:pt x="227342" y="332473"/>
                </a:lnTo>
                <a:lnTo>
                  <a:pt x="227444" y="332740"/>
                </a:lnTo>
                <a:lnTo>
                  <a:pt x="222872" y="337820"/>
                </a:lnTo>
                <a:lnTo>
                  <a:pt x="222796" y="337959"/>
                </a:lnTo>
                <a:lnTo>
                  <a:pt x="222796" y="346710"/>
                </a:lnTo>
                <a:lnTo>
                  <a:pt x="221246" y="349250"/>
                </a:lnTo>
                <a:lnTo>
                  <a:pt x="220230" y="348627"/>
                </a:lnTo>
                <a:lnTo>
                  <a:pt x="220230" y="351790"/>
                </a:lnTo>
                <a:lnTo>
                  <a:pt x="219087" y="353466"/>
                </a:lnTo>
                <a:lnTo>
                  <a:pt x="219087" y="355168"/>
                </a:lnTo>
                <a:lnTo>
                  <a:pt x="218808" y="355473"/>
                </a:lnTo>
                <a:lnTo>
                  <a:pt x="219075" y="355168"/>
                </a:lnTo>
                <a:lnTo>
                  <a:pt x="219087" y="353466"/>
                </a:lnTo>
                <a:lnTo>
                  <a:pt x="218795" y="353898"/>
                </a:lnTo>
                <a:lnTo>
                  <a:pt x="218795" y="354761"/>
                </a:lnTo>
                <a:lnTo>
                  <a:pt x="218376" y="354774"/>
                </a:lnTo>
                <a:lnTo>
                  <a:pt x="218795" y="354761"/>
                </a:lnTo>
                <a:lnTo>
                  <a:pt x="218795" y="353898"/>
                </a:lnTo>
                <a:lnTo>
                  <a:pt x="218643" y="354114"/>
                </a:lnTo>
                <a:lnTo>
                  <a:pt x="218503" y="353987"/>
                </a:lnTo>
                <a:lnTo>
                  <a:pt x="219849" y="351967"/>
                </a:lnTo>
                <a:lnTo>
                  <a:pt x="220230" y="351790"/>
                </a:lnTo>
                <a:lnTo>
                  <a:pt x="220230" y="348627"/>
                </a:lnTo>
                <a:lnTo>
                  <a:pt x="219202" y="347980"/>
                </a:lnTo>
                <a:lnTo>
                  <a:pt x="219202" y="347611"/>
                </a:lnTo>
                <a:lnTo>
                  <a:pt x="221246" y="348818"/>
                </a:lnTo>
                <a:lnTo>
                  <a:pt x="222580" y="346557"/>
                </a:lnTo>
                <a:lnTo>
                  <a:pt x="222796" y="346710"/>
                </a:lnTo>
                <a:lnTo>
                  <a:pt x="222796" y="337959"/>
                </a:lnTo>
                <a:lnTo>
                  <a:pt x="219430" y="343814"/>
                </a:lnTo>
                <a:lnTo>
                  <a:pt x="219341" y="343636"/>
                </a:lnTo>
                <a:lnTo>
                  <a:pt x="219227" y="343496"/>
                </a:lnTo>
                <a:lnTo>
                  <a:pt x="219087" y="343636"/>
                </a:lnTo>
                <a:lnTo>
                  <a:pt x="219100" y="343801"/>
                </a:lnTo>
                <a:lnTo>
                  <a:pt x="219151" y="343941"/>
                </a:lnTo>
                <a:lnTo>
                  <a:pt x="219125" y="344144"/>
                </a:lnTo>
                <a:lnTo>
                  <a:pt x="219214" y="343979"/>
                </a:lnTo>
                <a:lnTo>
                  <a:pt x="219227" y="344157"/>
                </a:lnTo>
                <a:lnTo>
                  <a:pt x="219036" y="344170"/>
                </a:lnTo>
                <a:lnTo>
                  <a:pt x="218147" y="345122"/>
                </a:lnTo>
                <a:lnTo>
                  <a:pt x="218147" y="352742"/>
                </a:lnTo>
                <a:lnTo>
                  <a:pt x="218147" y="353910"/>
                </a:lnTo>
                <a:lnTo>
                  <a:pt x="218109" y="353263"/>
                </a:lnTo>
                <a:lnTo>
                  <a:pt x="218084" y="353110"/>
                </a:lnTo>
                <a:lnTo>
                  <a:pt x="218122" y="352755"/>
                </a:lnTo>
                <a:lnTo>
                  <a:pt x="218147" y="345122"/>
                </a:lnTo>
                <a:lnTo>
                  <a:pt x="217843" y="345440"/>
                </a:lnTo>
                <a:lnTo>
                  <a:pt x="217627" y="345440"/>
                </a:lnTo>
                <a:lnTo>
                  <a:pt x="217627" y="356222"/>
                </a:lnTo>
                <a:lnTo>
                  <a:pt x="215633" y="354164"/>
                </a:lnTo>
                <a:lnTo>
                  <a:pt x="217538" y="353212"/>
                </a:lnTo>
                <a:lnTo>
                  <a:pt x="215646" y="354164"/>
                </a:lnTo>
                <a:lnTo>
                  <a:pt x="216865" y="355422"/>
                </a:lnTo>
                <a:lnTo>
                  <a:pt x="217627" y="356222"/>
                </a:lnTo>
                <a:lnTo>
                  <a:pt x="217627" y="345440"/>
                </a:lnTo>
                <a:lnTo>
                  <a:pt x="216446" y="345440"/>
                </a:lnTo>
                <a:lnTo>
                  <a:pt x="216446" y="352196"/>
                </a:lnTo>
                <a:lnTo>
                  <a:pt x="216446" y="345440"/>
                </a:lnTo>
                <a:lnTo>
                  <a:pt x="215036" y="345440"/>
                </a:lnTo>
                <a:lnTo>
                  <a:pt x="214947" y="347980"/>
                </a:lnTo>
                <a:lnTo>
                  <a:pt x="214553" y="350329"/>
                </a:lnTo>
                <a:lnTo>
                  <a:pt x="214947" y="347522"/>
                </a:lnTo>
                <a:lnTo>
                  <a:pt x="215023" y="344563"/>
                </a:lnTo>
                <a:lnTo>
                  <a:pt x="214972" y="343433"/>
                </a:lnTo>
                <a:lnTo>
                  <a:pt x="214998" y="343154"/>
                </a:lnTo>
                <a:lnTo>
                  <a:pt x="215023" y="344563"/>
                </a:lnTo>
                <a:lnTo>
                  <a:pt x="215023" y="344766"/>
                </a:lnTo>
                <a:lnTo>
                  <a:pt x="216636" y="345313"/>
                </a:lnTo>
                <a:lnTo>
                  <a:pt x="217843" y="344500"/>
                </a:lnTo>
                <a:lnTo>
                  <a:pt x="219036" y="343662"/>
                </a:lnTo>
                <a:lnTo>
                  <a:pt x="218960" y="343446"/>
                </a:lnTo>
                <a:lnTo>
                  <a:pt x="218795" y="343268"/>
                </a:lnTo>
                <a:lnTo>
                  <a:pt x="218503" y="343217"/>
                </a:lnTo>
                <a:lnTo>
                  <a:pt x="217360" y="343166"/>
                </a:lnTo>
                <a:lnTo>
                  <a:pt x="216408" y="343535"/>
                </a:lnTo>
                <a:lnTo>
                  <a:pt x="215544" y="344131"/>
                </a:lnTo>
                <a:lnTo>
                  <a:pt x="216065" y="343230"/>
                </a:lnTo>
                <a:lnTo>
                  <a:pt x="216293" y="342176"/>
                </a:lnTo>
                <a:lnTo>
                  <a:pt x="209677" y="337629"/>
                </a:lnTo>
                <a:lnTo>
                  <a:pt x="212394" y="328015"/>
                </a:lnTo>
                <a:lnTo>
                  <a:pt x="211340" y="327583"/>
                </a:lnTo>
                <a:lnTo>
                  <a:pt x="207987" y="326224"/>
                </a:lnTo>
                <a:lnTo>
                  <a:pt x="207987" y="329552"/>
                </a:lnTo>
                <a:lnTo>
                  <a:pt x="207886" y="328650"/>
                </a:lnTo>
                <a:lnTo>
                  <a:pt x="207937" y="328828"/>
                </a:lnTo>
                <a:lnTo>
                  <a:pt x="207987" y="329552"/>
                </a:lnTo>
                <a:lnTo>
                  <a:pt x="207987" y="326224"/>
                </a:lnTo>
                <a:lnTo>
                  <a:pt x="204901" y="324967"/>
                </a:lnTo>
                <a:lnTo>
                  <a:pt x="204838" y="316750"/>
                </a:lnTo>
                <a:lnTo>
                  <a:pt x="202387" y="311988"/>
                </a:lnTo>
                <a:lnTo>
                  <a:pt x="202387" y="321779"/>
                </a:lnTo>
                <a:lnTo>
                  <a:pt x="202031" y="319239"/>
                </a:lnTo>
                <a:lnTo>
                  <a:pt x="202387" y="321779"/>
                </a:lnTo>
                <a:lnTo>
                  <a:pt x="202387" y="311988"/>
                </a:lnTo>
                <a:lnTo>
                  <a:pt x="201739" y="310718"/>
                </a:lnTo>
                <a:lnTo>
                  <a:pt x="195834" y="309308"/>
                </a:lnTo>
                <a:lnTo>
                  <a:pt x="195834" y="310972"/>
                </a:lnTo>
                <a:lnTo>
                  <a:pt x="191300" y="310197"/>
                </a:lnTo>
                <a:lnTo>
                  <a:pt x="195834" y="310972"/>
                </a:lnTo>
                <a:lnTo>
                  <a:pt x="195834" y="309308"/>
                </a:lnTo>
                <a:lnTo>
                  <a:pt x="193128" y="308648"/>
                </a:lnTo>
                <a:lnTo>
                  <a:pt x="192697" y="307886"/>
                </a:lnTo>
                <a:lnTo>
                  <a:pt x="195287" y="305308"/>
                </a:lnTo>
                <a:lnTo>
                  <a:pt x="190728" y="304355"/>
                </a:lnTo>
                <a:lnTo>
                  <a:pt x="188264" y="303834"/>
                </a:lnTo>
                <a:lnTo>
                  <a:pt x="186994" y="301802"/>
                </a:lnTo>
                <a:lnTo>
                  <a:pt x="182867" y="296862"/>
                </a:lnTo>
                <a:lnTo>
                  <a:pt x="186994" y="301790"/>
                </a:lnTo>
                <a:lnTo>
                  <a:pt x="188264" y="303822"/>
                </a:lnTo>
                <a:lnTo>
                  <a:pt x="190728" y="304342"/>
                </a:lnTo>
                <a:lnTo>
                  <a:pt x="188252" y="299897"/>
                </a:lnTo>
                <a:lnTo>
                  <a:pt x="181051" y="293154"/>
                </a:lnTo>
                <a:lnTo>
                  <a:pt x="173418" y="286778"/>
                </a:lnTo>
                <a:lnTo>
                  <a:pt x="167297" y="279095"/>
                </a:lnTo>
                <a:lnTo>
                  <a:pt x="166878" y="278320"/>
                </a:lnTo>
                <a:lnTo>
                  <a:pt x="166878" y="282105"/>
                </a:lnTo>
                <a:lnTo>
                  <a:pt x="166865" y="281965"/>
                </a:lnTo>
                <a:lnTo>
                  <a:pt x="166878" y="282105"/>
                </a:lnTo>
                <a:lnTo>
                  <a:pt x="166878" y="278320"/>
                </a:lnTo>
                <a:lnTo>
                  <a:pt x="166814" y="278193"/>
                </a:lnTo>
                <a:lnTo>
                  <a:pt x="165722" y="277774"/>
                </a:lnTo>
                <a:lnTo>
                  <a:pt x="164934" y="277863"/>
                </a:lnTo>
                <a:lnTo>
                  <a:pt x="171945" y="270903"/>
                </a:lnTo>
                <a:lnTo>
                  <a:pt x="186766" y="255879"/>
                </a:lnTo>
                <a:lnTo>
                  <a:pt x="187782" y="254838"/>
                </a:lnTo>
                <a:lnTo>
                  <a:pt x="188518" y="253593"/>
                </a:lnTo>
                <a:lnTo>
                  <a:pt x="188785" y="252145"/>
                </a:lnTo>
                <a:lnTo>
                  <a:pt x="188493" y="252018"/>
                </a:lnTo>
                <a:lnTo>
                  <a:pt x="188277" y="251815"/>
                </a:lnTo>
                <a:lnTo>
                  <a:pt x="187896" y="251764"/>
                </a:lnTo>
                <a:lnTo>
                  <a:pt x="185915" y="254000"/>
                </a:lnTo>
                <a:lnTo>
                  <a:pt x="183997" y="256311"/>
                </a:lnTo>
                <a:lnTo>
                  <a:pt x="181940" y="258470"/>
                </a:lnTo>
                <a:lnTo>
                  <a:pt x="175006" y="265518"/>
                </a:lnTo>
                <a:lnTo>
                  <a:pt x="167919" y="272427"/>
                </a:lnTo>
                <a:lnTo>
                  <a:pt x="164439" y="275958"/>
                </a:lnTo>
                <a:lnTo>
                  <a:pt x="164439" y="278511"/>
                </a:lnTo>
                <a:lnTo>
                  <a:pt x="164172" y="279971"/>
                </a:lnTo>
                <a:lnTo>
                  <a:pt x="131838" y="312712"/>
                </a:lnTo>
                <a:lnTo>
                  <a:pt x="130505" y="313156"/>
                </a:lnTo>
                <a:lnTo>
                  <a:pt x="136626" y="306070"/>
                </a:lnTo>
                <a:lnTo>
                  <a:pt x="142189" y="300990"/>
                </a:lnTo>
                <a:lnTo>
                  <a:pt x="143586" y="299720"/>
                </a:lnTo>
                <a:lnTo>
                  <a:pt x="150660" y="292100"/>
                </a:lnTo>
                <a:lnTo>
                  <a:pt x="157607" y="285750"/>
                </a:lnTo>
                <a:lnTo>
                  <a:pt x="159664" y="283210"/>
                </a:lnTo>
                <a:lnTo>
                  <a:pt x="160362" y="282295"/>
                </a:lnTo>
                <a:lnTo>
                  <a:pt x="162941" y="279793"/>
                </a:lnTo>
                <a:lnTo>
                  <a:pt x="163550" y="279400"/>
                </a:lnTo>
                <a:lnTo>
                  <a:pt x="163550" y="279196"/>
                </a:lnTo>
                <a:lnTo>
                  <a:pt x="164312" y="278460"/>
                </a:lnTo>
                <a:lnTo>
                  <a:pt x="164439" y="278511"/>
                </a:lnTo>
                <a:lnTo>
                  <a:pt x="164439" y="275958"/>
                </a:lnTo>
                <a:lnTo>
                  <a:pt x="164122" y="275247"/>
                </a:lnTo>
                <a:lnTo>
                  <a:pt x="163156" y="274231"/>
                </a:lnTo>
                <a:lnTo>
                  <a:pt x="156552" y="268198"/>
                </a:lnTo>
                <a:lnTo>
                  <a:pt x="149479" y="262712"/>
                </a:lnTo>
                <a:lnTo>
                  <a:pt x="142392" y="257060"/>
                </a:lnTo>
                <a:lnTo>
                  <a:pt x="136906" y="251663"/>
                </a:lnTo>
                <a:lnTo>
                  <a:pt x="137363" y="256921"/>
                </a:lnTo>
                <a:lnTo>
                  <a:pt x="141541" y="259080"/>
                </a:lnTo>
                <a:lnTo>
                  <a:pt x="146900" y="262597"/>
                </a:lnTo>
                <a:lnTo>
                  <a:pt x="151739" y="266776"/>
                </a:lnTo>
                <a:lnTo>
                  <a:pt x="156540" y="270979"/>
                </a:lnTo>
                <a:lnTo>
                  <a:pt x="161759" y="274637"/>
                </a:lnTo>
                <a:lnTo>
                  <a:pt x="163042" y="275361"/>
                </a:lnTo>
                <a:lnTo>
                  <a:pt x="163626" y="276491"/>
                </a:lnTo>
                <a:lnTo>
                  <a:pt x="163614" y="276758"/>
                </a:lnTo>
                <a:lnTo>
                  <a:pt x="163042" y="275590"/>
                </a:lnTo>
                <a:lnTo>
                  <a:pt x="161759" y="275590"/>
                </a:lnTo>
                <a:lnTo>
                  <a:pt x="158280" y="273050"/>
                </a:lnTo>
                <a:lnTo>
                  <a:pt x="156540" y="271780"/>
                </a:lnTo>
                <a:lnTo>
                  <a:pt x="151739" y="267970"/>
                </a:lnTo>
                <a:lnTo>
                  <a:pt x="146900" y="262890"/>
                </a:lnTo>
                <a:lnTo>
                  <a:pt x="141541" y="259080"/>
                </a:lnTo>
                <a:lnTo>
                  <a:pt x="137363" y="257810"/>
                </a:lnTo>
                <a:lnTo>
                  <a:pt x="137045" y="254000"/>
                </a:lnTo>
                <a:lnTo>
                  <a:pt x="136842" y="251625"/>
                </a:lnTo>
                <a:lnTo>
                  <a:pt x="136728" y="249682"/>
                </a:lnTo>
                <a:lnTo>
                  <a:pt x="135280" y="249923"/>
                </a:lnTo>
                <a:lnTo>
                  <a:pt x="135661" y="250380"/>
                </a:lnTo>
                <a:lnTo>
                  <a:pt x="129374" y="251460"/>
                </a:lnTo>
                <a:lnTo>
                  <a:pt x="128371" y="250190"/>
                </a:lnTo>
                <a:lnTo>
                  <a:pt x="128651" y="249758"/>
                </a:lnTo>
                <a:lnTo>
                  <a:pt x="129374" y="250939"/>
                </a:lnTo>
                <a:lnTo>
                  <a:pt x="135280" y="249923"/>
                </a:lnTo>
                <a:lnTo>
                  <a:pt x="133769" y="249809"/>
                </a:lnTo>
                <a:lnTo>
                  <a:pt x="132194" y="249694"/>
                </a:lnTo>
                <a:lnTo>
                  <a:pt x="141465" y="240169"/>
                </a:lnTo>
                <a:lnTo>
                  <a:pt x="150520" y="230530"/>
                </a:lnTo>
                <a:lnTo>
                  <a:pt x="159486" y="220776"/>
                </a:lnTo>
                <a:lnTo>
                  <a:pt x="165823" y="213817"/>
                </a:lnTo>
                <a:lnTo>
                  <a:pt x="167195" y="213360"/>
                </a:lnTo>
                <a:lnTo>
                  <a:pt x="167690" y="212090"/>
                </a:lnTo>
                <a:lnTo>
                  <a:pt x="167894" y="211531"/>
                </a:lnTo>
                <a:lnTo>
                  <a:pt x="169875" y="209372"/>
                </a:lnTo>
                <a:lnTo>
                  <a:pt x="171958" y="208203"/>
                </a:lnTo>
                <a:lnTo>
                  <a:pt x="177368" y="198374"/>
                </a:lnTo>
                <a:lnTo>
                  <a:pt x="181851" y="190779"/>
                </a:lnTo>
                <a:lnTo>
                  <a:pt x="186791" y="183502"/>
                </a:lnTo>
                <a:lnTo>
                  <a:pt x="192430" y="176669"/>
                </a:lnTo>
                <a:lnTo>
                  <a:pt x="193586" y="175412"/>
                </a:lnTo>
                <a:lnTo>
                  <a:pt x="193776" y="173812"/>
                </a:lnTo>
                <a:lnTo>
                  <a:pt x="194017" y="172173"/>
                </a:lnTo>
                <a:lnTo>
                  <a:pt x="196291" y="165049"/>
                </a:lnTo>
                <a:lnTo>
                  <a:pt x="200113" y="158673"/>
                </a:lnTo>
                <a:lnTo>
                  <a:pt x="204343" y="152412"/>
                </a:lnTo>
                <a:lnTo>
                  <a:pt x="207937" y="145453"/>
                </a:lnTo>
                <a:lnTo>
                  <a:pt x="210985" y="150202"/>
                </a:lnTo>
                <a:lnTo>
                  <a:pt x="211696" y="154952"/>
                </a:lnTo>
                <a:lnTo>
                  <a:pt x="215036" y="157314"/>
                </a:lnTo>
                <a:lnTo>
                  <a:pt x="221805" y="163118"/>
                </a:lnTo>
                <a:lnTo>
                  <a:pt x="225285" y="167271"/>
                </a:lnTo>
                <a:lnTo>
                  <a:pt x="225425" y="168910"/>
                </a:lnTo>
                <a:lnTo>
                  <a:pt x="228434" y="171323"/>
                </a:lnTo>
                <a:lnTo>
                  <a:pt x="232295" y="177076"/>
                </a:lnTo>
                <a:lnTo>
                  <a:pt x="236651" y="184492"/>
                </a:lnTo>
                <a:lnTo>
                  <a:pt x="241376" y="192405"/>
                </a:lnTo>
                <a:lnTo>
                  <a:pt x="268782" y="223342"/>
                </a:lnTo>
                <a:lnTo>
                  <a:pt x="271094" y="227596"/>
                </a:lnTo>
                <a:lnTo>
                  <a:pt x="271475" y="229870"/>
                </a:lnTo>
                <a:lnTo>
                  <a:pt x="272415" y="229997"/>
                </a:lnTo>
                <a:lnTo>
                  <a:pt x="273329" y="231660"/>
                </a:lnTo>
                <a:lnTo>
                  <a:pt x="275463" y="231838"/>
                </a:lnTo>
                <a:lnTo>
                  <a:pt x="278269" y="232854"/>
                </a:lnTo>
                <a:lnTo>
                  <a:pt x="280035" y="232829"/>
                </a:lnTo>
                <a:lnTo>
                  <a:pt x="284480" y="241731"/>
                </a:lnTo>
                <a:lnTo>
                  <a:pt x="293065" y="244068"/>
                </a:lnTo>
                <a:lnTo>
                  <a:pt x="295465" y="246938"/>
                </a:lnTo>
                <a:lnTo>
                  <a:pt x="295795" y="250190"/>
                </a:lnTo>
                <a:lnTo>
                  <a:pt x="298196" y="250190"/>
                </a:lnTo>
                <a:lnTo>
                  <a:pt x="296430" y="250558"/>
                </a:lnTo>
                <a:lnTo>
                  <a:pt x="294614" y="250850"/>
                </a:lnTo>
                <a:lnTo>
                  <a:pt x="293192" y="252234"/>
                </a:lnTo>
                <a:lnTo>
                  <a:pt x="288340" y="257289"/>
                </a:lnTo>
                <a:lnTo>
                  <a:pt x="283552" y="262382"/>
                </a:lnTo>
                <a:lnTo>
                  <a:pt x="278434" y="267233"/>
                </a:lnTo>
                <a:lnTo>
                  <a:pt x="272643" y="271526"/>
                </a:lnTo>
                <a:lnTo>
                  <a:pt x="267677" y="274637"/>
                </a:lnTo>
                <a:lnTo>
                  <a:pt x="263296" y="279488"/>
                </a:lnTo>
                <a:lnTo>
                  <a:pt x="255371" y="284365"/>
                </a:lnTo>
                <a:lnTo>
                  <a:pt x="253390" y="286397"/>
                </a:lnTo>
                <a:lnTo>
                  <a:pt x="248920" y="295046"/>
                </a:lnTo>
                <a:lnTo>
                  <a:pt x="246989" y="297916"/>
                </a:lnTo>
                <a:lnTo>
                  <a:pt x="251333" y="297916"/>
                </a:lnTo>
                <a:lnTo>
                  <a:pt x="251460" y="296722"/>
                </a:lnTo>
                <a:lnTo>
                  <a:pt x="251637" y="294474"/>
                </a:lnTo>
                <a:lnTo>
                  <a:pt x="254812" y="286486"/>
                </a:lnTo>
                <a:lnTo>
                  <a:pt x="256489" y="285927"/>
                </a:lnTo>
                <a:lnTo>
                  <a:pt x="262940" y="282168"/>
                </a:lnTo>
                <a:lnTo>
                  <a:pt x="268490" y="277037"/>
                </a:lnTo>
                <a:lnTo>
                  <a:pt x="274294" y="272313"/>
                </a:lnTo>
                <a:lnTo>
                  <a:pt x="281520" y="269786"/>
                </a:lnTo>
                <a:lnTo>
                  <a:pt x="282041" y="269735"/>
                </a:lnTo>
                <a:lnTo>
                  <a:pt x="282867" y="269036"/>
                </a:lnTo>
                <a:lnTo>
                  <a:pt x="283298" y="265163"/>
                </a:lnTo>
                <a:lnTo>
                  <a:pt x="285216" y="263766"/>
                </a:lnTo>
                <a:lnTo>
                  <a:pt x="292201" y="257060"/>
                </a:lnTo>
                <a:lnTo>
                  <a:pt x="295732" y="251853"/>
                </a:lnTo>
                <a:lnTo>
                  <a:pt x="300240" y="250190"/>
                </a:lnTo>
                <a:lnTo>
                  <a:pt x="302272" y="250190"/>
                </a:lnTo>
                <a:lnTo>
                  <a:pt x="302272" y="177609"/>
                </a:lnTo>
                <a:lnTo>
                  <a:pt x="301523" y="175260"/>
                </a:lnTo>
                <a:lnTo>
                  <a:pt x="300304" y="171450"/>
                </a:lnTo>
                <a:lnTo>
                  <a:pt x="298678" y="171450"/>
                </a:lnTo>
                <a:lnTo>
                  <a:pt x="299173" y="172720"/>
                </a:lnTo>
                <a:lnTo>
                  <a:pt x="299631" y="173990"/>
                </a:lnTo>
                <a:lnTo>
                  <a:pt x="297967" y="175260"/>
                </a:lnTo>
                <a:lnTo>
                  <a:pt x="295363" y="171450"/>
                </a:lnTo>
                <a:lnTo>
                  <a:pt x="292379" y="167640"/>
                </a:lnTo>
                <a:lnTo>
                  <a:pt x="288531" y="161290"/>
                </a:lnTo>
                <a:lnTo>
                  <a:pt x="286677" y="158750"/>
                </a:lnTo>
                <a:lnTo>
                  <a:pt x="278511" y="158750"/>
                </a:lnTo>
                <a:lnTo>
                  <a:pt x="276250" y="154940"/>
                </a:lnTo>
                <a:lnTo>
                  <a:pt x="274637" y="148590"/>
                </a:lnTo>
                <a:lnTo>
                  <a:pt x="272580" y="147320"/>
                </a:lnTo>
                <a:lnTo>
                  <a:pt x="267500" y="143510"/>
                </a:lnTo>
                <a:lnTo>
                  <a:pt x="264109" y="140970"/>
                </a:lnTo>
                <a:lnTo>
                  <a:pt x="259689" y="135890"/>
                </a:lnTo>
                <a:lnTo>
                  <a:pt x="259321" y="125730"/>
                </a:lnTo>
                <a:lnTo>
                  <a:pt x="259270" y="124460"/>
                </a:lnTo>
                <a:lnTo>
                  <a:pt x="257975" y="123190"/>
                </a:lnTo>
                <a:lnTo>
                  <a:pt x="252031" y="125730"/>
                </a:lnTo>
                <a:lnTo>
                  <a:pt x="251612" y="123190"/>
                </a:lnTo>
                <a:lnTo>
                  <a:pt x="248996" y="114300"/>
                </a:lnTo>
                <a:lnTo>
                  <a:pt x="248094" y="107950"/>
                </a:lnTo>
                <a:lnTo>
                  <a:pt x="242303" y="102870"/>
                </a:lnTo>
                <a:lnTo>
                  <a:pt x="241922" y="101600"/>
                </a:lnTo>
                <a:lnTo>
                  <a:pt x="242836" y="93980"/>
                </a:lnTo>
                <a:lnTo>
                  <a:pt x="241376" y="90170"/>
                </a:lnTo>
                <a:lnTo>
                  <a:pt x="235534" y="83820"/>
                </a:lnTo>
                <a:lnTo>
                  <a:pt x="233591" y="82550"/>
                </a:lnTo>
                <a:lnTo>
                  <a:pt x="231635" y="81280"/>
                </a:lnTo>
                <a:lnTo>
                  <a:pt x="234391" y="78740"/>
                </a:lnTo>
                <a:lnTo>
                  <a:pt x="237147" y="76200"/>
                </a:lnTo>
                <a:lnTo>
                  <a:pt x="238518" y="74930"/>
                </a:lnTo>
                <a:lnTo>
                  <a:pt x="232143" y="73660"/>
                </a:lnTo>
                <a:lnTo>
                  <a:pt x="231965" y="72390"/>
                </a:lnTo>
                <a:lnTo>
                  <a:pt x="231432" y="68580"/>
                </a:lnTo>
                <a:lnTo>
                  <a:pt x="228066" y="67310"/>
                </a:lnTo>
                <a:lnTo>
                  <a:pt x="230200" y="64770"/>
                </a:lnTo>
                <a:lnTo>
                  <a:pt x="233400" y="60960"/>
                </a:lnTo>
                <a:lnTo>
                  <a:pt x="229222" y="58420"/>
                </a:lnTo>
                <a:lnTo>
                  <a:pt x="226174" y="49530"/>
                </a:lnTo>
                <a:lnTo>
                  <a:pt x="231508" y="46990"/>
                </a:lnTo>
                <a:lnTo>
                  <a:pt x="227787" y="45720"/>
                </a:lnTo>
                <a:lnTo>
                  <a:pt x="220840" y="41910"/>
                </a:lnTo>
                <a:lnTo>
                  <a:pt x="220776" y="35560"/>
                </a:lnTo>
                <a:lnTo>
                  <a:pt x="220764" y="34290"/>
                </a:lnTo>
                <a:lnTo>
                  <a:pt x="222135" y="27940"/>
                </a:lnTo>
                <a:lnTo>
                  <a:pt x="223507" y="21590"/>
                </a:lnTo>
                <a:lnTo>
                  <a:pt x="223520" y="15240"/>
                </a:lnTo>
                <a:lnTo>
                  <a:pt x="220370" y="0"/>
                </a:lnTo>
                <a:lnTo>
                  <a:pt x="216433" y="2540"/>
                </a:lnTo>
                <a:lnTo>
                  <a:pt x="213664" y="3276"/>
                </a:lnTo>
                <a:lnTo>
                  <a:pt x="213664" y="151130"/>
                </a:lnTo>
                <a:lnTo>
                  <a:pt x="213563" y="155422"/>
                </a:lnTo>
                <a:lnTo>
                  <a:pt x="213588" y="151028"/>
                </a:lnTo>
                <a:lnTo>
                  <a:pt x="213664" y="3276"/>
                </a:lnTo>
                <a:lnTo>
                  <a:pt x="211658" y="3810"/>
                </a:lnTo>
                <a:lnTo>
                  <a:pt x="210604" y="7620"/>
                </a:lnTo>
                <a:lnTo>
                  <a:pt x="211963" y="12700"/>
                </a:lnTo>
                <a:lnTo>
                  <a:pt x="211328" y="13970"/>
                </a:lnTo>
                <a:lnTo>
                  <a:pt x="210680" y="14757"/>
                </a:lnTo>
                <a:lnTo>
                  <a:pt x="210680" y="143510"/>
                </a:lnTo>
                <a:lnTo>
                  <a:pt x="210235" y="145592"/>
                </a:lnTo>
                <a:lnTo>
                  <a:pt x="210146" y="145453"/>
                </a:lnTo>
                <a:lnTo>
                  <a:pt x="210642" y="143510"/>
                </a:lnTo>
                <a:lnTo>
                  <a:pt x="210680" y="14757"/>
                </a:lnTo>
                <a:lnTo>
                  <a:pt x="207124" y="19050"/>
                </a:lnTo>
                <a:lnTo>
                  <a:pt x="203949" y="21590"/>
                </a:lnTo>
                <a:lnTo>
                  <a:pt x="200812" y="26670"/>
                </a:lnTo>
                <a:lnTo>
                  <a:pt x="199059" y="29210"/>
                </a:lnTo>
                <a:lnTo>
                  <a:pt x="204673" y="27940"/>
                </a:lnTo>
                <a:lnTo>
                  <a:pt x="204025" y="30480"/>
                </a:lnTo>
                <a:lnTo>
                  <a:pt x="203123" y="35560"/>
                </a:lnTo>
                <a:lnTo>
                  <a:pt x="201053" y="33020"/>
                </a:lnTo>
                <a:lnTo>
                  <a:pt x="200025" y="31750"/>
                </a:lnTo>
                <a:lnTo>
                  <a:pt x="199885" y="31902"/>
                </a:lnTo>
                <a:lnTo>
                  <a:pt x="199885" y="158673"/>
                </a:lnTo>
                <a:lnTo>
                  <a:pt x="199339" y="158750"/>
                </a:lnTo>
                <a:lnTo>
                  <a:pt x="199605" y="158343"/>
                </a:lnTo>
                <a:lnTo>
                  <a:pt x="199885" y="158673"/>
                </a:lnTo>
                <a:lnTo>
                  <a:pt x="199885" y="31902"/>
                </a:lnTo>
                <a:lnTo>
                  <a:pt x="198856" y="33020"/>
                </a:lnTo>
                <a:lnTo>
                  <a:pt x="197319" y="31432"/>
                </a:lnTo>
                <a:lnTo>
                  <a:pt x="197319" y="78740"/>
                </a:lnTo>
                <a:lnTo>
                  <a:pt x="197319" y="82550"/>
                </a:lnTo>
                <a:lnTo>
                  <a:pt x="195097" y="82550"/>
                </a:lnTo>
                <a:lnTo>
                  <a:pt x="193738" y="81280"/>
                </a:lnTo>
                <a:lnTo>
                  <a:pt x="193738" y="81102"/>
                </a:lnTo>
                <a:lnTo>
                  <a:pt x="195097" y="81559"/>
                </a:lnTo>
                <a:lnTo>
                  <a:pt x="196862" y="81610"/>
                </a:lnTo>
                <a:lnTo>
                  <a:pt x="197319" y="82550"/>
                </a:lnTo>
                <a:lnTo>
                  <a:pt x="197319" y="78740"/>
                </a:lnTo>
                <a:lnTo>
                  <a:pt x="196926" y="79235"/>
                </a:lnTo>
                <a:lnTo>
                  <a:pt x="196926" y="80010"/>
                </a:lnTo>
                <a:lnTo>
                  <a:pt x="196837" y="80568"/>
                </a:lnTo>
                <a:lnTo>
                  <a:pt x="196723" y="80314"/>
                </a:lnTo>
                <a:lnTo>
                  <a:pt x="196786" y="80010"/>
                </a:lnTo>
                <a:lnTo>
                  <a:pt x="196926" y="80010"/>
                </a:lnTo>
                <a:lnTo>
                  <a:pt x="196926" y="79235"/>
                </a:lnTo>
                <a:lnTo>
                  <a:pt x="196303" y="79006"/>
                </a:lnTo>
                <a:lnTo>
                  <a:pt x="196481" y="78740"/>
                </a:lnTo>
                <a:lnTo>
                  <a:pt x="197319" y="78740"/>
                </a:lnTo>
                <a:lnTo>
                  <a:pt x="197319" y="31432"/>
                </a:lnTo>
                <a:lnTo>
                  <a:pt x="195173" y="29210"/>
                </a:lnTo>
                <a:lnTo>
                  <a:pt x="194017" y="34290"/>
                </a:lnTo>
                <a:lnTo>
                  <a:pt x="195453" y="41910"/>
                </a:lnTo>
                <a:lnTo>
                  <a:pt x="193687" y="48260"/>
                </a:lnTo>
                <a:lnTo>
                  <a:pt x="193205" y="52705"/>
                </a:lnTo>
                <a:lnTo>
                  <a:pt x="193205" y="174472"/>
                </a:lnTo>
                <a:lnTo>
                  <a:pt x="192798" y="174815"/>
                </a:lnTo>
                <a:lnTo>
                  <a:pt x="192074" y="173990"/>
                </a:lnTo>
                <a:lnTo>
                  <a:pt x="192138" y="172834"/>
                </a:lnTo>
                <a:lnTo>
                  <a:pt x="193205" y="174472"/>
                </a:lnTo>
                <a:lnTo>
                  <a:pt x="193205" y="52705"/>
                </a:lnTo>
                <a:lnTo>
                  <a:pt x="192722" y="57150"/>
                </a:lnTo>
                <a:lnTo>
                  <a:pt x="192976" y="59690"/>
                </a:lnTo>
                <a:lnTo>
                  <a:pt x="192659" y="59778"/>
                </a:lnTo>
                <a:lnTo>
                  <a:pt x="192659" y="73660"/>
                </a:lnTo>
                <a:lnTo>
                  <a:pt x="192595" y="74930"/>
                </a:lnTo>
                <a:lnTo>
                  <a:pt x="192493" y="76200"/>
                </a:lnTo>
                <a:lnTo>
                  <a:pt x="190868" y="76200"/>
                </a:lnTo>
                <a:lnTo>
                  <a:pt x="190106" y="74930"/>
                </a:lnTo>
                <a:lnTo>
                  <a:pt x="190309" y="74371"/>
                </a:lnTo>
                <a:lnTo>
                  <a:pt x="190868" y="75082"/>
                </a:lnTo>
                <a:lnTo>
                  <a:pt x="192506" y="75209"/>
                </a:lnTo>
                <a:lnTo>
                  <a:pt x="192608" y="74180"/>
                </a:lnTo>
                <a:lnTo>
                  <a:pt x="192620" y="73621"/>
                </a:lnTo>
                <a:lnTo>
                  <a:pt x="192659" y="59778"/>
                </a:lnTo>
                <a:lnTo>
                  <a:pt x="188226" y="60960"/>
                </a:lnTo>
                <a:lnTo>
                  <a:pt x="187998" y="63500"/>
                </a:lnTo>
                <a:lnTo>
                  <a:pt x="187845" y="68580"/>
                </a:lnTo>
                <a:lnTo>
                  <a:pt x="191541" y="64770"/>
                </a:lnTo>
                <a:lnTo>
                  <a:pt x="192074" y="67310"/>
                </a:lnTo>
                <a:lnTo>
                  <a:pt x="185940" y="72390"/>
                </a:lnTo>
                <a:lnTo>
                  <a:pt x="186575" y="81280"/>
                </a:lnTo>
                <a:lnTo>
                  <a:pt x="183057" y="92710"/>
                </a:lnTo>
                <a:lnTo>
                  <a:pt x="182562" y="99060"/>
                </a:lnTo>
                <a:lnTo>
                  <a:pt x="180174" y="109220"/>
                </a:lnTo>
                <a:lnTo>
                  <a:pt x="179844" y="113030"/>
                </a:lnTo>
                <a:lnTo>
                  <a:pt x="183857" y="121920"/>
                </a:lnTo>
                <a:lnTo>
                  <a:pt x="182410" y="124460"/>
                </a:lnTo>
                <a:lnTo>
                  <a:pt x="175196" y="129540"/>
                </a:lnTo>
                <a:lnTo>
                  <a:pt x="172339" y="130810"/>
                </a:lnTo>
                <a:lnTo>
                  <a:pt x="174117" y="137160"/>
                </a:lnTo>
                <a:lnTo>
                  <a:pt x="173494" y="137160"/>
                </a:lnTo>
                <a:lnTo>
                  <a:pt x="168757" y="138430"/>
                </a:lnTo>
                <a:lnTo>
                  <a:pt x="168173" y="143510"/>
                </a:lnTo>
                <a:lnTo>
                  <a:pt x="163487" y="148590"/>
                </a:lnTo>
                <a:lnTo>
                  <a:pt x="165582" y="154940"/>
                </a:lnTo>
                <a:lnTo>
                  <a:pt x="154305" y="153670"/>
                </a:lnTo>
                <a:lnTo>
                  <a:pt x="152844" y="156210"/>
                </a:lnTo>
                <a:lnTo>
                  <a:pt x="152120" y="162560"/>
                </a:lnTo>
                <a:lnTo>
                  <a:pt x="150228" y="165100"/>
                </a:lnTo>
                <a:lnTo>
                  <a:pt x="144106" y="165100"/>
                </a:lnTo>
                <a:lnTo>
                  <a:pt x="144437" y="173990"/>
                </a:lnTo>
                <a:lnTo>
                  <a:pt x="138658" y="172720"/>
                </a:lnTo>
                <a:lnTo>
                  <a:pt x="133299" y="172720"/>
                </a:lnTo>
                <a:lnTo>
                  <a:pt x="135636" y="173990"/>
                </a:lnTo>
                <a:lnTo>
                  <a:pt x="135483" y="175260"/>
                </a:lnTo>
                <a:lnTo>
                  <a:pt x="132651" y="181610"/>
                </a:lnTo>
                <a:lnTo>
                  <a:pt x="131940" y="180340"/>
                </a:lnTo>
                <a:lnTo>
                  <a:pt x="130505" y="177800"/>
                </a:lnTo>
                <a:lnTo>
                  <a:pt x="126479" y="180340"/>
                </a:lnTo>
                <a:lnTo>
                  <a:pt x="123710" y="177800"/>
                </a:lnTo>
                <a:lnTo>
                  <a:pt x="121285" y="179070"/>
                </a:lnTo>
                <a:lnTo>
                  <a:pt x="123393" y="184150"/>
                </a:lnTo>
                <a:lnTo>
                  <a:pt x="121361" y="191770"/>
                </a:lnTo>
                <a:lnTo>
                  <a:pt x="113626" y="191770"/>
                </a:lnTo>
                <a:lnTo>
                  <a:pt x="108369" y="189230"/>
                </a:lnTo>
                <a:lnTo>
                  <a:pt x="107835" y="195580"/>
                </a:lnTo>
                <a:lnTo>
                  <a:pt x="102120" y="196850"/>
                </a:lnTo>
                <a:lnTo>
                  <a:pt x="100444" y="201930"/>
                </a:lnTo>
                <a:lnTo>
                  <a:pt x="99364" y="203441"/>
                </a:lnTo>
                <a:lnTo>
                  <a:pt x="99364" y="209550"/>
                </a:lnTo>
                <a:lnTo>
                  <a:pt x="96240" y="212090"/>
                </a:lnTo>
                <a:lnTo>
                  <a:pt x="99225" y="209384"/>
                </a:lnTo>
                <a:lnTo>
                  <a:pt x="99364" y="209550"/>
                </a:lnTo>
                <a:lnTo>
                  <a:pt x="99364" y="203441"/>
                </a:lnTo>
                <a:lnTo>
                  <a:pt x="97701" y="205740"/>
                </a:lnTo>
                <a:lnTo>
                  <a:pt x="97409" y="206806"/>
                </a:lnTo>
                <a:lnTo>
                  <a:pt x="97701" y="204558"/>
                </a:lnTo>
                <a:lnTo>
                  <a:pt x="97370" y="204533"/>
                </a:lnTo>
                <a:lnTo>
                  <a:pt x="97320" y="205460"/>
                </a:lnTo>
                <a:lnTo>
                  <a:pt x="97256" y="207683"/>
                </a:lnTo>
                <a:lnTo>
                  <a:pt x="97294" y="205651"/>
                </a:lnTo>
                <a:lnTo>
                  <a:pt x="97320" y="205460"/>
                </a:lnTo>
                <a:lnTo>
                  <a:pt x="97320" y="204546"/>
                </a:lnTo>
                <a:lnTo>
                  <a:pt x="97040" y="204558"/>
                </a:lnTo>
                <a:lnTo>
                  <a:pt x="96697" y="204622"/>
                </a:lnTo>
                <a:lnTo>
                  <a:pt x="96621" y="205803"/>
                </a:lnTo>
                <a:lnTo>
                  <a:pt x="93675" y="208280"/>
                </a:lnTo>
                <a:lnTo>
                  <a:pt x="85432" y="201930"/>
                </a:lnTo>
                <a:lnTo>
                  <a:pt x="87071" y="213360"/>
                </a:lnTo>
                <a:lnTo>
                  <a:pt x="83426" y="207010"/>
                </a:lnTo>
                <a:lnTo>
                  <a:pt x="80848" y="208280"/>
                </a:lnTo>
                <a:lnTo>
                  <a:pt x="78727" y="214630"/>
                </a:lnTo>
                <a:lnTo>
                  <a:pt x="66116" y="214630"/>
                </a:lnTo>
                <a:lnTo>
                  <a:pt x="59715" y="222250"/>
                </a:lnTo>
                <a:lnTo>
                  <a:pt x="57797" y="222250"/>
                </a:lnTo>
                <a:lnTo>
                  <a:pt x="49377" y="219710"/>
                </a:lnTo>
                <a:lnTo>
                  <a:pt x="44665" y="226060"/>
                </a:lnTo>
                <a:lnTo>
                  <a:pt x="38061" y="224790"/>
                </a:lnTo>
                <a:lnTo>
                  <a:pt x="36868" y="227330"/>
                </a:lnTo>
                <a:lnTo>
                  <a:pt x="36347" y="231140"/>
                </a:lnTo>
                <a:lnTo>
                  <a:pt x="34556" y="231140"/>
                </a:lnTo>
                <a:lnTo>
                  <a:pt x="32740" y="229882"/>
                </a:lnTo>
                <a:lnTo>
                  <a:pt x="32740" y="233680"/>
                </a:lnTo>
                <a:lnTo>
                  <a:pt x="30048" y="231140"/>
                </a:lnTo>
                <a:lnTo>
                  <a:pt x="28803" y="231140"/>
                </a:lnTo>
                <a:lnTo>
                  <a:pt x="30670" y="228600"/>
                </a:lnTo>
                <a:lnTo>
                  <a:pt x="31610" y="229870"/>
                </a:lnTo>
                <a:lnTo>
                  <a:pt x="32639" y="229870"/>
                </a:lnTo>
                <a:lnTo>
                  <a:pt x="32740" y="233680"/>
                </a:lnTo>
                <a:lnTo>
                  <a:pt x="32740" y="229882"/>
                </a:lnTo>
                <a:lnTo>
                  <a:pt x="32258" y="228600"/>
                </a:lnTo>
                <a:lnTo>
                  <a:pt x="34848" y="226060"/>
                </a:lnTo>
                <a:lnTo>
                  <a:pt x="28130" y="227330"/>
                </a:lnTo>
                <a:lnTo>
                  <a:pt x="25565" y="227330"/>
                </a:lnTo>
                <a:lnTo>
                  <a:pt x="26631" y="233680"/>
                </a:lnTo>
                <a:lnTo>
                  <a:pt x="24701" y="234950"/>
                </a:lnTo>
                <a:lnTo>
                  <a:pt x="23876" y="235432"/>
                </a:lnTo>
                <a:lnTo>
                  <a:pt x="143306" y="235432"/>
                </a:lnTo>
                <a:lnTo>
                  <a:pt x="142570" y="236220"/>
                </a:lnTo>
                <a:lnTo>
                  <a:pt x="83553" y="236220"/>
                </a:lnTo>
                <a:lnTo>
                  <a:pt x="83553" y="284480"/>
                </a:lnTo>
                <a:lnTo>
                  <a:pt x="83121" y="284695"/>
                </a:lnTo>
                <a:lnTo>
                  <a:pt x="83540" y="284480"/>
                </a:lnTo>
                <a:lnTo>
                  <a:pt x="83553" y="236220"/>
                </a:lnTo>
                <a:lnTo>
                  <a:pt x="22542" y="236220"/>
                </a:lnTo>
                <a:lnTo>
                  <a:pt x="21361" y="236220"/>
                </a:lnTo>
                <a:lnTo>
                  <a:pt x="14719" y="237490"/>
                </a:lnTo>
                <a:lnTo>
                  <a:pt x="16014" y="241300"/>
                </a:lnTo>
                <a:lnTo>
                  <a:pt x="16738" y="243840"/>
                </a:lnTo>
                <a:lnTo>
                  <a:pt x="20929" y="240030"/>
                </a:lnTo>
                <a:lnTo>
                  <a:pt x="19316" y="245110"/>
                </a:lnTo>
                <a:lnTo>
                  <a:pt x="17399" y="243840"/>
                </a:lnTo>
                <a:lnTo>
                  <a:pt x="16738" y="243840"/>
                </a:lnTo>
                <a:lnTo>
                  <a:pt x="16141" y="243840"/>
                </a:lnTo>
                <a:lnTo>
                  <a:pt x="12407" y="245110"/>
                </a:lnTo>
                <a:lnTo>
                  <a:pt x="6438" y="245110"/>
                </a:lnTo>
                <a:lnTo>
                  <a:pt x="10693" y="252730"/>
                </a:lnTo>
                <a:lnTo>
                  <a:pt x="9664" y="254000"/>
                </a:lnTo>
                <a:lnTo>
                  <a:pt x="2844" y="251460"/>
                </a:lnTo>
                <a:lnTo>
                  <a:pt x="4686" y="257810"/>
                </a:lnTo>
                <a:lnTo>
                  <a:pt x="1651" y="261620"/>
                </a:lnTo>
                <a:lnTo>
                  <a:pt x="0" y="266700"/>
                </a:lnTo>
                <a:lnTo>
                  <a:pt x="8166" y="270510"/>
                </a:lnTo>
                <a:lnTo>
                  <a:pt x="8940" y="278130"/>
                </a:lnTo>
                <a:lnTo>
                  <a:pt x="16179" y="276860"/>
                </a:lnTo>
                <a:lnTo>
                  <a:pt x="16992" y="276860"/>
                </a:lnTo>
                <a:lnTo>
                  <a:pt x="18173" y="284480"/>
                </a:lnTo>
                <a:lnTo>
                  <a:pt x="21031" y="280670"/>
                </a:lnTo>
                <a:lnTo>
                  <a:pt x="26289" y="276860"/>
                </a:lnTo>
                <a:lnTo>
                  <a:pt x="28041" y="275590"/>
                </a:lnTo>
                <a:lnTo>
                  <a:pt x="30746" y="276860"/>
                </a:lnTo>
                <a:lnTo>
                  <a:pt x="32981" y="284480"/>
                </a:lnTo>
                <a:lnTo>
                  <a:pt x="34518" y="283210"/>
                </a:lnTo>
                <a:lnTo>
                  <a:pt x="42392" y="285750"/>
                </a:lnTo>
                <a:lnTo>
                  <a:pt x="43522" y="283210"/>
                </a:lnTo>
                <a:lnTo>
                  <a:pt x="45808" y="278130"/>
                </a:lnTo>
                <a:lnTo>
                  <a:pt x="51943" y="279400"/>
                </a:lnTo>
                <a:lnTo>
                  <a:pt x="52755" y="278130"/>
                </a:lnTo>
                <a:lnTo>
                  <a:pt x="54368" y="275590"/>
                </a:lnTo>
                <a:lnTo>
                  <a:pt x="55994" y="273050"/>
                </a:lnTo>
                <a:lnTo>
                  <a:pt x="58000" y="279400"/>
                </a:lnTo>
                <a:lnTo>
                  <a:pt x="59931" y="281940"/>
                </a:lnTo>
                <a:lnTo>
                  <a:pt x="62674" y="280670"/>
                </a:lnTo>
                <a:lnTo>
                  <a:pt x="61150" y="276860"/>
                </a:lnTo>
                <a:lnTo>
                  <a:pt x="66001" y="279400"/>
                </a:lnTo>
                <a:lnTo>
                  <a:pt x="68884" y="280670"/>
                </a:lnTo>
                <a:lnTo>
                  <a:pt x="73190" y="287020"/>
                </a:lnTo>
                <a:lnTo>
                  <a:pt x="77622" y="289560"/>
                </a:lnTo>
                <a:lnTo>
                  <a:pt x="82600" y="287020"/>
                </a:lnTo>
                <a:lnTo>
                  <a:pt x="80060" y="287020"/>
                </a:lnTo>
                <a:lnTo>
                  <a:pt x="80124" y="286854"/>
                </a:lnTo>
                <a:lnTo>
                  <a:pt x="81711" y="286562"/>
                </a:lnTo>
                <a:lnTo>
                  <a:pt x="82588" y="286880"/>
                </a:lnTo>
                <a:lnTo>
                  <a:pt x="84048" y="284480"/>
                </a:lnTo>
                <a:lnTo>
                  <a:pt x="84251" y="284480"/>
                </a:lnTo>
                <a:lnTo>
                  <a:pt x="86233" y="283210"/>
                </a:lnTo>
                <a:lnTo>
                  <a:pt x="86245" y="284480"/>
                </a:lnTo>
                <a:lnTo>
                  <a:pt x="89712" y="289560"/>
                </a:lnTo>
                <a:lnTo>
                  <a:pt x="90893" y="297180"/>
                </a:lnTo>
                <a:lnTo>
                  <a:pt x="99606" y="292100"/>
                </a:lnTo>
                <a:lnTo>
                  <a:pt x="99364" y="293370"/>
                </a:lnTo>
                <a:lnTo>
                  <a:pt x="101930" y="298450"/>
                </a:lnTo>
                <a:lnTo>
                  <a:pt x="107302" y="298450"/>
                </a:lnTo>
                <a:lnTo>
                  <a:pt x="114630" y="302260"/>
                </a:lnTo>
                <a:lnTo>
                  <a:pt x="119291" y="304800"/>
                </a:lnTo>
                <a:lnTo>
                  <a:pt x="125514" y="300990"/>
                </a:lnTo>
                <a:lnTo>
                  <a:pt x="125971" y="306070"/>
                </a:lnTo>
                <a:lnTo>
                  <a:pt x="128041" y="309880"/>
                </a:lnTo>
                <a:lnTo>
                  <a:pt x="128447" y="312420"/>
                </a:lnTo>
                <a:lnTo>
                  <a:pt x="130035" y="313690"/>
                </a:lnTo>
                <a:lnTo>
                  <a:pt x="130162" y="313537"/>
                </a:lnTo>
                <a:lnTo>
                  <a:pt x="131914" y="317703"/>
                </a:lnTo>
                <a:lnTo>
                  <a:pt x="138328" y="317487"/>
                </a:lnTo>
                <a:lnTo>
                  <a:pt x="140601" y="325729"/>
                </a:lnTo>
                <a:lnTo>
                  <a:pt x="142887" y="327710"/>
                </a:lnTo>
                <a:lnTo>
                  <a:pt x="145592" y="329552"/>
                </a:lnTo>
                <a:lnTo>
                  <a:pt x="150710" y="334251"/>
                </a:lnTo>
                <a:lnTo>
                  <a:pt x="155130" y="339712"/>
                </a:lnTo>
                <a:lnTo>
                  <a:pt x="159880" y="344906"/>
                </a:lnTo>
                <a:lnTo>
                  <a:pt x="165849" y="348703"/>
                </a:lnTo>
                <a:lnTo>
                  <a:pt x="166154" y="348818"/>
                </a:lnTo>
                <a:lnTo>
                  <a:pt x="166128" y="350608"/>
                </a:lnTo>
                <a:lnTo>
                  <a:pt x="167868" y="358787"/>
                </a:lnTo>
                <a:lnTo>
                  <a:pt x="171589" y="365696"/>
                </a:lnTo>
                <a:lnTo>
                  <a:pt x="176796" y="371640"/>
                </a:lnTo>
                <a:lnTo>
                  <a:pt x="182994" y="376961"/>
                </a:lnTo>
                <a:lnTo>
                  <a:pt x="181749" y="382803"/>
                </a:lnTo>
                <a:lnTo>
                  <a:pt x="184467" y="382765"/>
                </a:lnTo>
                <a:lnTo>
                  <a:pt x="181749" y="382816"/>
                </a:lnTo>
                <a:lnTo>
                  <a:pt x="183324" y="385445"/>
                </a:lnTo>
                <a:lnTo>
                  <a:pt x="184721" y="388073"/>
                </a:lnTo>
                <a:lnTo>
                  <a:pt x="191122" y="386143"/>
                </a:lnTo>
                <a:lnTo>
                  <a:pt x="193344" y="388404"/>
                </a:lnTo>
                <a:lnTo>
                  <a:pt x="193497" y="392303"/>
                </a:lnTo>
                <a:lnTo>
                  <a:pt x="191350" y="392430"/>
                </a:lnTo>
                <a:lnTo>
                  <a:pt x="188823" y="391223"/>
                </a:lnTo>
                <a:lnTo>
                  <a:pt x="187020" y="392303"/>
                </a:lnTo>
                <a:lnTo>
                  <a:pt x="186918" y="392430"/>
                </a:lnTo>
                <a:lnTo>
                  <a:pt x="191439" y="397497"/>
                </a:lnTo>
                <a:lnTo>
                  <a:pt x="189534" y="404342"/>
                </a:lnTo>
                <a:lnTo>
                  <a:pt x="196977" y="406869"/>
                </a:lnTo>
                <a:lnTo>
                  <a:pt x="197485" y="409613"/>
                </a:lnTo>
                <a:lnTo>
                  <a:pt x="199085" y="416890"/>
                </a:lnTo>
                <a:lnTo>
                  <a:pt x="197180" y="423811"/>
                </a:lnTo>
                <a:lnTo>
                  <a:pt x="205549" y="426542"/>
                </a:lnTo>
                <a:lnTo>
                  <a:pt x="206349" y="428421"/>
                </a:lnTo>
                <a:lnTo>
                  <a:pt x="202463" y="432460"/>
                </a:lnTo>
                <a:lnTo>
                  <a:pt x="206921" y="437159"/>
                </a:lnTo>
                <a:lnTo>
                  <a:pt x="202679" y="444614"/>
                </a:lnTo>
                <a:lnTo>
                  <a:pt x="204533" y="449186"/>
                </a:lnTo>
                <a:lnTo>
                  <a:pt x="200863" y="455079"/>
                </a:lnTo>
                <a:lnTo>
                  <a:pt x="206933" y="454482"/>
                </a:lnTo>
                <a:lnTo>
                  <a:pt x="200660" y="463296"/>
                </a:lnTo>
                <a:lnTo>
                  <a:pt x="202438" y="468337"/>
                </a:lnTo>
                <a:lnTo>
                  <a:pt x="206743" y="478040"/>
                </a:lnTo>
                <a:lnTo>
                  <a:pt x="213842" y="480301"/>
                </a:lnTo>
                <a:lnTo>
                  <a:pt x="209842" y="487438"/>
                </a:lnTo>
                <a:lnTo>
                  <a:pt x="211175" y="489839"/>
                </a:lnTo>
                <a:lnTo>
                  <a:pt x="215519" y="489292"/>
                </a:lnTo>
                <a:lnTo>
                  <a:pt x="216928" y="490258"/>
                </a:lnTo>
                <a:lnTo>
                  <a:pt x="217639" y="492264"/>
                </a:lnTo>
                <a:lnTo>
                  <a:pt x="220865" y="495033"/>
                </a:lnTo>
                <a:lnTo>
                  <a:pt x="218440" y="496430"/>
                </a:lnTo>
                <a:lnTo>
                  <a:pt x="216408" y="497916"/>
                </a:lnTo>
                <a:lnTo>
                  <a:pt x="219138" y="503872"/>
                </a:lnTo>
                <a:lnTo>
                  <a:pt x="223354" y="507695"/>
                </a:lnTo>
                <a:lnTo>
                  <a:pt x="231927" y="506514"/>
                </a:lnTo>
                <a:lnTo>
                  <a:pt x="233133" y="506463"/>
                </a:lnTo>
                <a:lnTo>
                  <a:pt x="237871" y="513918"/>
                </a:lnTo>
                <a:lnTo>
                  <a:pt x="241427" y="511479"/>
                </a:lnTo>
                <a:lnTo>
                  <a:pt x="244970" y="507314"/>
                </a:lnTo>
                <a:lnTo>
                  <a:pt x="245186" y="506463"/>
                </a:lnTo>
                <a:lnTo>
                  <a:pt x="245427" y="505523"/>
                </a:lnTo>
                <a:lnTo>
                  <a:pt x="235851" y="504101"/>
                </a:lnTo>
                <a:lnTo>
                  <a:pt x="245325" y="501853"/>
                </a:lnTo>
                <a:lnTo>
                  <a:pt x="246456" y="501865"/>
                </a:lnTo>
                <a:lnTo>
                  <a:pt x="245643" y="500418"/>
                </a:lnTo>
                <a:lnTo>
                  <a:pt x="243306" y="496277"/>
                </a:lnTo>
                <a:lnTo>
                  <a:pt x="243039" y="495795"/>
                </a:lnTo>
                <a:lnTo>
                  <a:pt x="243840" y="494614"/>
                </a:lnTo>
                <a:lnTo>
                  <a:pt x="246557" y="490613"/>
                </a:lnTo>
                <a:lnTo>
                  <a:pt x="246303" y="489292"/>
                </a:lnTo>
                <a:lnTo>
                  <a:pt x="244055" y="477570"/>
                </a:lnTo>
                <a:lnTo>
                  <a:pt x="241604" y="469709"/>
                </a:lnTo>
                <a:lnTo>
                  <a:pt x="245910" y="459879"/>
                </a:lnTo>
                <a:lnTo>
                  <a:pt x="245402" y="457250"/>
                </a:lnTo>
                <a:lnTo>
                  <a:pt x="244513" y="454482"/>
                </a:lnTo>
                <a:lnTo>
                  <a:pt x="243586" y="451573"/>
                </a:lnTo>
                <a:lnTo>
                  <a:pt x="238747" y="448741"/>
                </a:lnTo>
                <a:lnTo>
                  <a:pt x="243319" y="443204"/>
                </a:lnTo>
                <a:lnTo>
                  <a:pt x="242176" y="442480"/>
                </a:lnTo>
                <a:lnTo>
                  <a:pt x="238099" y="440563"/>
                </a:lnTo>
                <a:lnTo>
                  <a:pt x="236461" y="439077"/>
                </a:lnTo>
                <a:lnTo>
                  <a:pt x="242824" y="434784"/>
                </a:lnTo>
                <a:lnTo>
                  <a:pt x="244424" y="427913"/>
                </a:lnTo>
                <a:lnTo>
                  <a:pt x="236410" y="426847"/>
                </a:lnTo>
                <a:lnTo>
                  <a:pt x="241820" y="423608"/>
                </a:lnTo>
                <a:lnTo>
                  <a:pt x="240677" y="422122"/>
                </a:lnTo>
                <a:lnTo>
                  <a:pt x="242481" y="421030"/>
                </a:lnTo>
                <a:lnTo>
                  <a:pt x="242417" y="419950"/>
                </a:lnTo>
                <a:lnTo>
                  <a:pt x="240271" y="412889"/>
                </a:lnTo>
                <a:lnTo>
                  <a:pt x="246519" y="406869"/>
                </a:lnTo>
                <a:lnTo>
                  <a:pt x="239801" y="402399"/>
                </a:lnTo>
                <a:lnTo>
                  <a:pt x="240576" y="401434"/>
                </a:lnTo>
                <a:lnTo>
                  <a:pt x="243319" y="394004"/>
                </a:lnTo>
                <a:lnTo>
                  <a:pt x="244017" y="392430"/>
                </a:lnTo>
                <a:lnTo>
                  <a:pt x="246316" y="387299"/>
                </a:lnTo>
                <a:lnTo>
                  <a:pt x="246189" y="386143"/>
                </a:lnTo>
                <a:lnTo>
                  <a:pt x="245592" y="380568"/>
                </a:lnTo>
                <a:lnTo>
                  <a:pt x="245503" y="379730"/>
                </a:lnTo>
                <a:lnTo>
                  <a:pt x="251167" y="378460"/>
                </a:lnTo>
                <a:lnTo>
                  <a:pt x="251167" y="372110"/>
                </a:lnTo>
                <a:lnTo>
                  <a:pt x="259334" y="365760"/>
                </a:lnTo>
                <a:lnTo>
                  <a:pt x="262559" y="359410"/>
                </a:lnTo>
                <a:lnTo>
                  <a:pt x="263702" y="351790"/>
                </a:lnTo>
                <a:lnTo>
                  <a:pt x="263893" y="350520"/>
                </a:lnTo>
                <a:lnTo>
                  <a:pt x="264617" y="350520"/>
                </a:lnTo>
                <a:lnTo>
                  <a:pt x="265988" y="349250"/>
                </a:lnTo>
                <a:lnTo>
                  <a:pt x="274129" y="342900"/>
                </a:lnTo>
                <a:lnTo>
                  <a:pt x="282371" y="336550"/>
                </a:lnTo>
                <a:lnTo>
                  <a:pt x="289687" y="330200"/>
                </a:lnTo>
                <a:lnTo>
                  <a:pt x="290449" y="328930"/>
                </a:lnTo>
                <a:lnTo>
                  <a:pt x="295008" y="321310"/>
                </a:lnTo>
                <a:lnTo>
                  <a:pt x="295643" y="320040"/>
                </a:lnTo>
                <a:lnTo>
                  <a:pt x="297434" y="316230"/>
                </a:lnTo>
                <a:lnTo>
                  <a:pt x="303618" y="318770"/>
                </a:lnTo>
                <a:lnTo>
                  <a:pt x="305244" y="317500"/>
                </a:lnTo>
                <a:lnTo>
                  <a:pt x="306133" y="316230"/>
                </a:lnTo>
                <a:lnTo>
                  <a:pt x="310642" y="309880"/>
                </a:lnTo>
                <a:lnTo>
                  <a:pt x="314604" y="304800"/>
                </a:lnTo>
                <a:lnTo>
                  <a:pt x="325069" y="304800"/>
                </a:lnTo>
                <a:lnTo>
                  <a:pt x="324878" y="298450"/>
                </a:lnTo>
                <a:lnTo>
                  <a:pt x="329742" y="298450"/>
                </a:lnTo>
                <a:lnTo>
                  <a:pt x="332117" y="293370"/>
                </a:lnTo>
                <a:lnTo>
                  <a:pt x="333844" y="290830"/>
                </a:lnTo>
                <a:lnTo>
                  <a:pt x="342188" y="294640"/>
                </a:lnTo>
                <a:lnTo>
                  <a:pt x="343128" y="290830"/>
                </a:lnTo>
                <a:lnTo>
                  <a:pt x="343763" y="288290"/>
                </a:lnTo>
                <a:lnTo>
                  <a:pt x="338086" y="284480"/>
                </a:lnTo>
                <a:lnTo>
                  <a:pt x="341782" y="284480"/>
                </a:lnTo>
                <a:lnTo>
                  <a:pt x="344627" y="281940"/>
                </a:lnTo>
                <a:lnTo>
                  <a:pt x="346595" y="281940"/>
                </a:lnTo>
                <a:lnTo>
                  <a:pt x="348475" y="280670"/>
                </a:lnTo>
                <a:lnTo>
                  <a:pt x="348640" y="279946"/>
                </a:lnTo>
                <a:lnTo>
                  <a:pt x="349110" y="281736"/>
                </a:lnTo>
                <a:lnTo>
                  <a:pt x="345376" y="284200"/>
                </a:lnTo>
                <a:lnTo>
                  <a:pt x="350418" y="286194"/>
                </a:lnTo>
                <a:lnTo>
                  <a:pt x="350786" y="282829"/>
                </a:lnTo>
                <a:lnTo>
                  <a:pt x="351612" y="281152"/>
                </a:lnTo>
                <a:lnTo>
                  <a:pt x="352031" y="281152"/>
                </a:lnTo>
                <a:lnTo>
                  <a:pt x="352450" y="281139"/>
                </a:lnTo>
                <a:lnTo>
                  <a:pt x="352552" y="279908"/>
                </a:lnTo>
                <a:lnTo>
                  <a:pt x="352856" y="279196"/>
                </a:lnTo>
                <a:lnTo>
                  <a:pt x="353326" y="279400"/>
                </a:lnTo>
                <a:lnTo>
                  <a:pt x="352552" y="280670"/>
                </a:lnTo>
                <a:lnTo>
                  <a:pt x="352437" y="281940"/>
                </a:lnTo>
                <a:lnTo>
                  <a:pt x="357479" y="284480"/>
                </a:lnTo>
                <a:lnTo>
                  <a:pt x="354749" y="278130"/>
                </a:lnTo>
                <a:lnTo>
                  <a:pt x="354215" y="276860"/>
                </a:lnTo>
                <a:lnTo>
                  <a:pt x="357759" y="278130"/>
                </a:lnTo>
                <a:lnTo>
                  <a:pt x="360006" y="283210"/>
                </a:lnTo>
                <a:lnTo>
                  <a:pt x="365391" y="278130"/>
                </a:lnTo>
                <a:lnTo>
                  <a:pt x="371817" y="281940"/>
                </a:lnTo>
                <a:lnTo>
                  <a:pt x="384848" y="278130"/>
                </a:lnTo>
                <a:lnTo>
                  <a:pt x="392290" y="276860"/>
                </a:lnTo>
                <a:lnTo>
                  <a:pt x="399288" y="281940"/>
                </a:lnTo>
                <a:lnTo>
                  <a:pt x="401561" y="279400"/>
                </a:lnTo>
                <a:lnTo>
                  <a:pt x="396252" y="278130"/>
                </a:lnTo>
                <a:lnTo>
                  <a:pt x="397598" y="276860"/>
                </a:lnTo>
                <a:lnTo>
                  <a:pt x="398945" y="275590"/>
                </a:lnTo>
                <a:lnTo>
                  <a:pt x="408051" y="283210"/>
                </a:lnTo>
                <a:lnTo>
                  <a:pt x="411251" y="276860"/>
                </a:lnTo>
                <a:lnTo>
                  <a:pt x="413423" y="276860"/>
                </a:lnTo>
                <a:lnTo>
                  <a:pt x="413143" y="279400"/>
                </a:lnTo>
                <a:lnTo>
                  <a:pt x="419252" y="283210"/>
                </a:lnTo>
                <a:lnTo>
                  <a:pt x="421144" y="278130"/>
                </a:lnTo>
                <a:lnTo>
                  <a:pt x="428840" y="276860"/>
                </a:lnTo>
                <a:lnTo>
                  <a:pt x="432968" y="274320"/>
                </a:lnTo>
                <a:lnTo>
                  <a:pt x="435000" y="271780"/>
                </a:lnTo>
                <a:lnTo>
                  <a:pt x="439051" y="266700"/>
                </a:lnTo>
                <a:lnTo>
                  <a:pt x="439699" y="262890"/>
                </a:lnTo>
                <a:lnTo>
                  <a:pt x="436943" y="256540"/>
                </a:lnTo>
                <a:lnTo>
                  <a:pt x="441236" y="260350"/>
                </a:lnTo>
                <a:lnTo>
                  <a:pt x="442810" y="261620"/>
                </a:lnTo>
                <a:lnTo>
                  <a:pt x="443623" y="256540"/>
                </a:lnTo>
                <a:lnTo>
                  <a:pt x="444030" y="254000"/>
                </a:lnTo>
                <a:lnTo>
                  <a:pt x="444233" y="252730"/>
                </a:lnTo>
                <a:lnTo>
                  <a:pt x="444830" y="250190"/>
                </a:lnTo>
                <a:lnTo>
                  <a:pt x="442912" y="243840"/>
                </a:lnTo>
                <a:lnTo>
                  <a:pt x="440842" y="242633"/>
                </a:lnTo>
                <a:lnTo>
                  <a:pt x="440842" y="248920"/>
                </a:lnTo>
                <a:lnTo>
                  <a:pt x="439051" y="250190"/>
                </a:lnTo>
                <a:lnTo>
                  <a:pt x="437870" y="250190"/>
                </a:lnTo>
                <a:lnTo>
                  <a:pt x="435711" y="248920"/>
                </a:lnTo>
                <a:lnTo>
                  <a:pt x="436943" y="247650"/>
                </a:lnTo>
                <a:lnTo>
                  <a:pt x="435013" y="247650"/>
                </a:lnTo>
                <a:lnTo>
                  <a:pt x="433933" y="248920"/>
                </a:lnTo>
                <a:lnTo>
                  <a:pt x="432130" y="246380"/>
                </a:lnTo>
                <a:lnTo>
                  <a:pt x="433133" y="245110"/>
                </a:lnTo>
                <a:lnTo>
                  <a:pt x="434682" y="242570"/>
                </a:lnTo>
                <a:lnTo>
                  <a:pt x="434936" y="245110"/>
                </a:lnTo>
                <a:lnTo>
                  <a:pt x="435889" y="245110"/>
                </a:lnTo>
                <a:lnTo>
                  <a:pt x="436143" y="243840"/>
                </a:lnTo>
                <a:lnTo>
                  <a:pt x="436257" y="242570"/>
                </a:lnTo>
                <a:lnTo>
                  <a:pt x="440055" y="243840"/>
                </a:lnTo>
                <a:lnTo>
                  <a:pt x="438226" y="245110"/>
                </a:lnTo>
                <a:lnTo>
                  <a:pt x="438632" y="247650"/>
                </a:lnTo>
                <a:lnTo>
                  <a:pt x="439000" y="247650"/>
                </a:lnTo>
                <a:lnTo>
                  <a:pt x="440842" y="248920"/>
                </a:lnTo>
                <a:lnTo>
                  <a:pt x="440842" y="242633"/>
                </a:lnTo>
                <a:lnTo>
                  <a:pt x="442874" y="240030"/>
                </a:lnTo>
                <a:lnTo>
                  <a:pt x="445731" y="238760"/>
                </a:lnTo>
                <a:close/>
              </a:path>
            </a:pathLst>
          </a:custGeom>
          <a:solidFill>
            <a:srgbClr val="85D24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DF141121-BCCF-1F02-66C2-6404E265E89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96" t="17928" r="20543" b="18722"/>
          <a:stretch/>
        </p:blipFill>
        <p:spPr>
          <a:xfrm>
            <a:off x="596900" y="287973"/>
            <a:ext cx="1709815" cy="116866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9F08B8-28E2-A4CD-ECD7-CC31F8B2C2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D911606-79C9-DC68-D69A-1C1052ECEEC2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ea typeface="+mj-ea"/>
                <a:cs typeface="+mj-cs"/>
              </a:rPr>
              <a:pPr algn="r"/>
              <a:t>1</a:t>
            </a:fld>
            <a:endParaRPr lang="en-US" sz="700" spc="300">
              <a:solidFill>
                <a:schemeClr val="bg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23072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120B907-E21E-A08B-BF22-1E0D926137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20B907-E21E-A08B-BF22-1E0D92613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C188E51-E524-E8E8-A993-26ADCA6780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11D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B6C52B2A-5C44-B3FD-E4F3-DB8621D2316C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065588 h 6858000"/>
              <a:gd name="connsiteX3" fmla="*/ 12166943 w 12192000"/>
              <a:gd name="connsiteY3" fmla="*/ 3121012 h 6858000"/>
              <a:gd name="connsiteX4" fmla="*/ 7453357 w 12192000"/>
              <a:gd name="connsiteY4" fmla="*/ 6799333 h 6858000"/>
              <a:gd name="connsiteX5" fmla="*/ 7124839 w 12192000"/>
              <a:gd name="connsiteY5" fmla="*/ 6858000 h 6858000"/>
              <a:gd name="connsiteX6" fmla="*/ 5067162 w 12192000"/>
              <a:gd name="connsiteY6" fmla="*/ 6858000 h 6858000"/>
              <a:gd name="connsiteX7" fmla="*/ 4738644 w 12192000"/>
              <a:gd name="connsiteY7" fmla="*/ 6799333 h 6858000"/>
              <a:gd name="connsiteX8" fmla="*/ 25057 w 12192000"/>
              <a:gd name="connsiteY8" fmla="*/ 3121012 h 6858000"/>
              <a:gd name="connsiteX9" fmla="*/ 0 w 12192000"/>
              <a:gd name="connsiteY9" fmla="*/ 3065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065588"/>
                </a:lnTo>
                <a:lnTo>
                  <a:pt x="12166943" y="3121012"/>
                </a:lnTo>
                <a:cubicBezTo>
                  <a:pt x="11268390" y="4985813"/>
                  <a:pt x="9535940" y="6373175"/>
                  <a:pt x="7453357" y="6799333"/>
                </a:cubicBezTo>
                <a:lnTo>
                  <a:pt x="7124839" y="6858000"/>
                </a:lnTo>
                <a:lnTo>
                  <a:pt x="5067162" y="6858000"/>
                </a:lnTo>
                <a:lnTo>
                  <a:pt x="4738644" y="6799333"/>
                </a:lnTo>
                <a:cubicBezTo>
                  <a:pt x="2656060" y="6373175"/>
                  <a:pt x="923610" y="4985813"/>
                  <a:pt x="25057" y="3121012"/>
                </a:cubicBezTo>
                <a:lnTo>
                  <a:pt x="0" y="3065588"/>
                </a:lnTo>
                <a:close/>
              </a:path>
            </a:pathLst>
          </a:custGeom>
          <a:solidFill>
            <a:schemeClr val="tx1"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92" name="Graphic 391">
            <a:extLst>
              <a:ext uri="{FF2B5EF4-FFF2-40B4-BE49-F238E27FC236}">
                <a16:creationId xmlns:a16="http://schemas.microsoft.com/office/drawing/2014/main" id="{786796F0-C89F-20E6-09D9-2ADA3F09F84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1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551" t="12250" r="10206" b="48550"/>
          <a:stretch/>
        </p:blipFill>
        <p:spPr>
          <a:xfrm rot="10800000">
            <a:off x="1017357" y="146417"/>
            <a:ext cx="11417868" cy="5250642"/>
          </a:xfrm>
          <a:custGeom>
            <a:avLst/>
            <a:gdLst>
              <a:gd name="connsiteX0" fmla="*/ 11417868 w 11417868"/>
              <a:gd name="connsiteY0" fmla="*/ 5250642 h 5250642"/>
              <a:gd name="connsiteX1" fmla="*/ 0 w 11417868"/>
              <a:gd name="connsiteY1" fmla="*/ 5250642 h 5250642"/>
              <a:gd name="connsiteX2" fmla="*/ 0 w 11417868"/>
              <a:gd name="connsiteY2" fmla="*/ 0 h 5250642"/>
              <a:gd name="connsiteX3" fmla="*/ 11417868 w 11417868"/>
              <a:gd name="connsiteY3" fmla="*/ 0 h 5250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17868" h="5250642">
                <a:moveTo>
                  <a:pt x="11417868" y="5250642"/>
                </a:moveTo>
                <a:lnTo>
                  <a:pt x="0" y="5250642"/>
                </a:lnTo>
                <a:lnTo>
                  <a:pt x="0" y="0"/>
                </a:lnTo>
                <a:lnTo>
                  <a:pt x="11417868" y="0"/>
                </a:lnTo>
                <a:close/>
              </a:path>
            </a:pathLst>
          </a:custGeom>
        </p:spPr>
      </p:pic>
      <p:sp>
        <p:nvSpPr>
          <p:cNvPr id="137" name="Freeform: Shape 136">
            <a:extLst>
              <a:ext uri="{FF2B5EF4-FFF2-40B4-BE49-F238E27FC236}">
                <a16:creationId xmlns:a16="http://schemas.microsoft.com/office/drawing/2014/main" id="{10CA9F7A-DAE1-4D1D-00E8-B9C0BDADEC7E}"/>
              </a:ext>
            </a:extLst>
          </p:cNvPr>
          <p:cNvSpPr>
            <a:spLocks/>
          </p:cNvSpPr>
          <p:nvPr/>
        </p:nvSpPr>
        <p:spPr>
          <a:xfrm>
            <a:off x="2296325" y="0"/>
            <a:ext cx="7599350" cy="4000744"/>
          </a:xfrm>
          <a:custGeom>
            <a:avLst/>
            <a:gdLst>
              <a:gd name="connsiteX0" fmla="*/ 5365 w 7599350"/>
              <a:gd name="connsiteY0" fmla="*/ 0 h 4000744"/>
              <a:gd name="connsiteX1" fmla="*/ 7593985 w 7599350"/>
              <a:gd name="connsiteY1" fmla="*/ 0 h 4000744"/>
              <a:gd name="connsiteX2" fmla="*/ 7594406 w 7599350"/>
              <a:gd name="connsiteY2" fmla="*/ 5538 h 4000744"/>
              <a:gd name="connsiteX3" fmla="*/ 7599350 w 7599350"/>
              <a:gd name="connsiteY3" fmla="*/ 201069 h 4000744"/>
              <a:gd name="connsiteX4" fmla="*/ 3799675 w 7599350"/>
              <a:gd name="connsiteY4" fmla="*/ 4000744 h 4000744"/>
              <a:gd name="connsiteX5" fmla="*/ 0 w 7599350"/>
              <a:gd name="connsiteY5" fmla="*/ 201069 h 4000744"/>
              <a:gd name="connsiteX6" fmla="*/ 4944 w 7599350"/>
              <a:gd name="connsiteY6" fmla="*/ 5538 h 400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99350" h="4000744">
                <a:moveTo>
                  <a:pt x="5365" y="0"/>
                </a:moveTo>
                <a:lnTo>
                  <a:pt x="7593985" y="0"/>
                </a:lnTo>
                <a:lnTo>
                  <a:pt x="7594406" y="5538"/>
                </a:lnTo>
                <a:cubicBezTo>
                  <a:pt x="7597689" y="70301"/>
                  <a:pt x="7599350" y="135491"/>
                  <a:pt x="7599350" y="201069"/>
                </a:cubicBezTo>
                <a:cubicBezTo>
                  <a:pt x="7599350" y="2299572"/>
                  <a:pt x="5898178" y="4000744"/>
                  <a:pt x="3799675" y="4000744"/>
                </a:cubicBezTo>
                <a:cubicBezTo>
                  <a:pt x="1701172" y="4000744"/>
                  <a:pt x="0" y="2299572"/>
                  <a:pt x="0" y="201069"/>
                </a:cubicBezTo>
                <a:cubicBezTo>
                  <a:pt x="0" y="135491"/>
                  <a:pt x="1662" y="70301"/>
                  <a:pt x="4944" y="5538"/>
                </a:cubicBezTo>
                <a:close/>
              </a:path>
            </a:pathLst>
          </a:cu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FC8F05-20CF-C584-71DF-34C04DB26681}"/>
              </a:ext>
            </a:extLst>
          </p:cNvPr>
          <p:cNvSpPr>
            <a:spLocks/>
          </p:cNvSpPr>
          <p:nvPr/>
        </p:nvSpPr>
        <p:spPr>
          <a:xfrm>
            <a:off x="177800" y="6086901"/>
            <a:ext cx="11819592" cy="771098"/>
          </a:xfrm>
          <a:custGeom>
            <a:avLst/>
            <a:gdLst>
              <a:gd name="connsiteX0" fmla="*/ 990833 w 11549483"/>
              <a:gd name="connsiteY0" fmla="*/ 0 h 1016000"/>
              <a:gd name="connsiteX1" fmla="*/ 10558650 w 11549483"/>
              <a:gd name="connsiteY1" fmla="*/ 0 h 1016000"/>
              <a:gd name="connsiteX2" fmla="*/ 11549483 w 11549483"/>
              <a:gd name="connsiteY2" fmla="*/ 990833 h 1016000"/>
              <a:gd name="connsiteX3" fmla="*/ 11549483 w 11549483"/>
              <a:gd name="connsiteY3" fmla="*/ 1016000 h 1016000"/>
              <a:gd name="connsiteX4" fmla="*/ 0 w 11549483"/>
              <a:gd name="connsiteY4" fmla="*/ 1016000 h 1016000"/>
              <a:gd name="connsiteX5" fmla="*/ 0 w 11549483"/>
              <a:gd name="connsiteY5" fmla="*/ 990833 h 1016000"/>
              <a:gd name="connsiteX6" fmla="*/ 990833 w 11549483"/>
              <a:gd name="connsiteY6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49483" h="1016000">
                <a:moveTo>
                  <a:pt x="990833" y="0"/>
                </a:moveTo>
                <a:lnTo>
                  <a:pt x="10558650" y="0"/>
                </a:lnTo>
                <a:cubicBezTo>
                  <a:pt x="11105872" y="0"/>
                  <a:pt x="11549483" y="443611"/>
                  <a:pt x="11549483" y="990833"/>
                </a:cubicBezTo>
                <a:lnTo>
                  <a:pt x="11549483" y="1016000"/>
                </a:lnTo>
                <a:lnTo>
                  <a:pt x="0" y="1016000"/>
                </a:lnTo>
                <a:lnTo>
                  <a:pt x="0" y="990833"/>
                </a:lnTo>
                <a:cubicBezTo>
                  <a:pt x="0" y="443611"/>
                  <a:pt x="443611" y="0"/>
                  <a:pt x="99083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805EEA-1FC2-B44B-E666-1A291BAF09AB}"/>
              </a:ext>
            </a:extLst>
          </p:cNvPr>
          <p:cNvSpPr/>
          <p:nvPr/>
        </p:nvSpPr>
        <p:spPr>
          <a:xfrm>
            <a:off x="5181787" y="5351450"/>
            <a:ext cx="1781176" cy="258775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pep+ </a:t>
            </a:r>
            <a:r>
              <a:rPr kumimoji="0" lang="en-IN" sz="1600" b="1" i="0" u="none" strike="noStrike" kern="1200" cap="none" spc="0" normalizeH="0" baseline="0" noProof="0" err="1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new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 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C6DABDAB-E0D7-5095-14CF-4D27007B5048}"/>
              </a:ext>
            </a:extLst>
          </p:cNvPr>
          <p:cNvSpPr/>
          <p:nvPr/>
        </p:nvSpPr>
        <p:spPr>
          <a:xfrm rot="5400000">
            <a:off x="4095628" y="-1799303"/>
            <a:ext cx="4000744" cy="7599351"/>
          </a:xfrm>
          <a:custGeom>
            <a:avLst/>
            <a:gdLst>
              <a:gd name="connsiteX0" fmla="*/ 1 w 4000744"/>
              <a:gd name="connsiteY0" fmla="*/ 4626871 h 7599351"/>
              <a:gd name="connsiteX1" fmla="*/ 1 w 4000744"/>
              <a:gd name="connsiteY1" fmla="*/ 4452423 h 7599351"/>
              <a:gd name="connsiteX2" fmla="*/ 62925 w 4000744"/>
              <a:gd name="connsiteY2" fmla="*/ 4471994 h 7599351"/>
              <a:gd name="connsiteX3" fmla="*/ 201073 w 4000744"/>
              <a:gd name="connsiteY3" fmla="*/ 4485961 h 7599351"/>
              <a:gd name="connsiteX4" fmla="*/ 887356 w 4000744"/>
              <a:gd name="connsiteY4" fmla="*/ 3799677 h 7599351"/>
              <a:gd name="connsiteX5" fmla="*/ 201073 w 4000744"/>
              <a:gd name="connsiteY5" fmla="*/ 3113391 h 7599351"/>
              <a:gd name="connsiteX6" fmla="*/ 62925 w 4000744"/>
              <a:gd name="connsiteY6" fmla="*/ 3127357 h 7599351"/>
              <a:gd name="connsiteX7" fmla="*/ 1 w 4000744"/>
              <a:gd name="connsiteY7" fmla="*/ 3146929 h 7599351"/>
              <a:gd name="connsiteX8" fmla="*/ 1 w 4000744"/>
              <a:gd name="connsiteY8" fmla="*/ 2972480 h 7599351"/>
              <a:gd name="connsiteX9" fmla="*/ 29252 w 4000744"/>
              <a:gd name="connsiteY9" fmla="*/ 2963380 h 7599351"/>
              <a:gd name="connsiteX10" fmla="*/ 201073 w 4000744"/>
              <a:gd name="connsiteY10" fmla="*/ 2946004 h 7599351"/>
              <a:gd name="connsiteX11" fmla="*/ 1054742 w 4000744"/>
              <a:gd name="connsiteY11" fmla="*/ 3799677 h 7599351"/>
              <a:gd name="connsiteX12" fmla="*/ 201073 w 4000744"/>
              <a:gd name="connsiteY12" fmla="*/ 4653347 h 7599351"/>
              <a:gd name="connsiteX13" fmla="*/ 29252 w 4000744"/>
              <a:gd name="connsiteY13" fmla="*/ 4635972 h 7599351"/>
              <a:gd name="connsiteX14" fmla="*/ 1 w 4000744"/>
              <a:gd name="connsiteY14" fmla="*/ 5748133 h 7599351"/>
              <a:gd name="connsiteX15" fmla="*/ 1 w 4000744"/>
              <a:gd name="connsiteY15" fmla="*/ 5579165 h 7599351"/>
              <a:gd name="connsiteX16" fmla="*/ 18177 w 4000744"/>
              <a:gd name="connsiteY16" fmla="*/ 5581947 h 7599351"/>
              <a:gd name="connsiteX17" fmla="*/ 201071 w 4000744"/>
              <a:gd name="connsiteY17" fmla="*/ 5591214 h 7599351"/>
              <a:gd name="connsiteX18" fmla="*/ 1992443 w 4000744"/>
              <a:gd name="connsiteY18" fmla="*/ 3799842 h 7599351"/>
              <a:gd name="connsiteX19" fmla="*/ 201071 w 4000744"/>
              <a:gd name="connsiteY19" fmla="*/ 2008470 h 7599351"/>
              <a:gd name="connsiteX20" fmla="*/ 18177 w 4000744"/>
              <a:gd name="connsiteY20" fmla="*/ 2017736 h 7599351"/>
              <a:gd name="connsiteX21" fmla="*/ 1 w 4000744"/>
              <a:gd name="connsiteY21" fmla="*/ 2020518 h 7599351"/>
              <a:gd name="connsiteX22" fmla="*/ 1 w 4000744"/>
              <a:gd name="connsiteY22" fmla="*/ 1851210 h 7599351"/>
              <a:gd name="connsiteX23" fmla="*/ 1070 w 4000744"/>
              <a:gd name="connsiteY23" fmla="*/ 1851046 h 7599351"/>
              <a:gd name="connsiteX24" fmla="*/ 201071 w 4000744"/>
              <a:gd name="connsiteY24" fmla="*/ 1840915 h 7599351"/>
              <a:gd name="connsiteX25" fmla="*/ 2159830 w 4000744"/>
              <a:gd name="connsiteY25" fmla="*/ 3799675 h 7599351"/>
              <a:gd name="connsiteX26" fmla="*/ 201071 w 4000744"/>
              <a:gd name="connsiteY26" fmla="*/ 5758432 h 7599351"/>
              <a:gd name="connsiteX27" fmla="*/ 1098 w 4000744"/>
              <a:gd name="connsiteY27" fmla="*/ 5748302 h 7599351"/>
              <a:gd name="connsiteX28" fmla="*/ 1 w 4000744"/>
              <a:gd name="connsiteY28" fmla="*/ 6928825 h 7599351"/>
              <a:gd name="connsiteX29" fmla="*/ 1 w 4000744"/>
              <a:gd name="connsiteY29" fmla="*/ 6761269 h 7599351"/>
              <a:gd name="connsiteX30" fmla="*/ 201071 w 4000744"/>
              <a:gd name="connsiteY30" fmla="*/ 6771456 h 7599351"/>
              <a:gd name="connsiteX31" fmla="*/ 3172851 w 4000744"/>
              <a:gd name="connsiteY31" fmla="*/ 3799679 h 7599351"/>
              <a:gd name="connsiteX32" fmla="*/ 201071 w 4000744"/>
              <a:gd name="connsiteY32" fmla="*/ 827896 h 7599351"/>
              <a:gd name="connsiteX33" fmla="*/ 1 w 4000744"/>
              <a:gd name="connsiteY33" fmla="*/ 838083 h 7599351"/>
              <a:gd name="connsiteX34" fmla="*/ 1 w 4000744"/>
              <a:gd name="connsiteY34" fmla="*/ 670865 h 7599351"/>
              <a:gd name="connsiteX35" fmla="*/ 201071 w 4000744"/>
              <a:gd name="connsiteY35" fmla="*/ 660678 h 7599351"/>
              <a:gd name="connsiteX36" fmla="*/ 3340238 w 4000744"/>
              <a:gd name="connsiteY36" fmla="*/ 3799847 h 7599351"/>
              <a:gd name="connsiteX37" fmla="*/ 201071 w 4000744"/>
              <a:gd name="connsiteY37" fmla="*/ 6939011 h 7599351"/>
              <a:gd name="connsiteX38" fmla="*/ 0 w 4000744"/>
              <a:gd name="connsiteY38" fmla="*/ 4928501 h 7599351"/>
              <a:gd name="connsiteX39" fmla="*/ 0 w 4000744"/>
              <a:gd name="connsiteY39" fmla="*/ 4758936 h 7599351"/>
              <a:gd name="connsiteX40" fmla="*/ 3771 w 4000744"/>
              <a:gd name="connsiteY40" fmla="*/ 4760109 h 7599351"/>
              <a:gd name="connsiteX41" fmla="*/ 201070 w 4000744"/>
              <a:gd name="connsiteY41" fmla="*/ 4780059 h 7599351"/>
              <a:gd name="connsiteX42" fmla="*/ 1181285 w 4000744"/>
              <a:gd name="connsiteY42" fmla="*/ 3799844 h 7599351"/>
              <a:gd name="connsiteX43" fmla="*/ 201070 w 4000744"/>
              <a:gd name="connsiteY43" fmla="*/ 2819630 h 7599351"/>
              <a:gd name="connsiteX44" fmla="*/ 3771 w 4000744"/>
              <a:gd name="connsiteY44" fmla="*/ 2839580 h 7599351"/>
              <a:gd name="connsiteX45" fmla="*/ 0 w 4000744"/>
              <a:gd name="connsiteY45" fmla="*/ 2840753 h 7599351"/>
              <a:gd name="connsiteX46" fmla="*/ 0 w 4000744"/>
              <a:gd name="connsiteY46" fmla="*/ 2670845 h 7599351"/>
              <a:gd name="connsiteX47" fmla="*/ 83885 w 4000744"/>
              <a:gd name="connsiteY47" fmla="*/ 2658010 h 7599351"/>
              <a:gd name="connsiteX48" fmla="*/ 201070 w 4000744"/>
              <a:gd name="connsiteY48" fmla="*/ 2652075 h 7599351"/>
              <a:gd name="connsiteX49" fmla="*/ 1348672 w 4000744"/>
              <a:gd name="connsiteY49" fmla="*/ 3799677 h 7599351"/>
              <a:gd name="connsiteX50" fmla="*/ 201070 w 4000744"/>
              <a:gd name="connsiteY50" fmla="*/ 4947278 h 7599351"/>
              <a:gd name="connsiteX51" fmla="*/ 83912 w 4000744"/>
              <a:gd name="connsiteY51" fmla="*/ 4941343 h 7599351"/>
              <a:gd name="connsiteX52" fmla="*/ 0 w 4000744"/>
              <a:gd name="connsiteY52" fmla="*/ 5215188 h 7599351"/>
              <a:gd name="connsiteX53" fmla="*/ 0 w 4000744"/>
              <a:gd name="connsiteY53" fmla="*/ 5046223 h 7599351"/>
              <a:gd name="connsiteX54" fmla="*/ 72015 w 4000744"/>
              <a:gd name="connsiteY54" fmla="*/ 5057243 h 7599351"/>
              <a:gd name="connsiteX55" fmla="*/ 201071 w 4000744"/>
              <a:gd name="connsiteY55" fmla="*/ 5063781 h 7599351"/>
              <a:gd name="connsiteX56" fmla="*/ 1465008 w 4000744"/>
              <a:gd name="connsiteY56" fmla="*/ 3799844 h 7599351"/>
              <a:gd name="connsiteX57" fmla="*/ 201071 w 4000744"/>
              <a:gd name="connsiteY57" fmla="*/ 2535907 h 7599351"/>
              <a:gd name="connsiteX58" fmla="*/ 72043 w 4000744"/>
              <a:gd name="connsiteY58" fmla="*/ 2542444 h 7599351"/>
              <a:gd name="connsiteX59" fmla="*/ 0 w 4000744"/>
              <a:gd name="connsiteY59" fmla="*/ 2553470 h 7599351"/>
              <a:gd name="connsiteX60" fmla="*/ 0 w 4000744"/>
              <a:gd name="connsiteY60" fmla="*/ 2384164 h 7599351"/>
              <a:gd name="connsiteX61" fmla="*/ 54936 w 4000744"/>
              <a:gd name="connsiteY61" fmla="*/ 2375756 h 7599351"/>
              <a:gd name="connsiteX62" fmla="*/ 201071 w 4000744"/>
              <a:gd name="connsiteY62" fmla="*/ 2368352 h 7599351"/>
              <a:gd name="connsiteX63" fmla="*/ 1632395 w 4000744"/>
              <a:gd name="connsiteY63" fmla="*/ 3799676 h 7599351"/>
              <a:gd name="connsiteX64" fmla="*/ 201071 w 4000744"/>
              <a:gd name="connsiteY64" fmla="*/ 5231000 h 7599351"/>
              <a:gd name="connsiteX65" fmla="*/ 54936 w 4000744"/>
              <a:gd name="connsiteY65" fmla="*/ 5223596 h 7599351"/>
              <a:gd name="connsiteX66" fmla="*/ 0 w 4000744"/>
              <a:gd name="connsiteY66" fmla="*/ 5478871 h 7599351"/>
              <a:gd name="connsiteX67" fmla="*/ 0 w 4000744"/>
              <a:gd name="connsiteY67" fmla="*/ 5309567 h 7599351"/>
              <a:gd name="connsiteX68" fmla="*/ 45388 w 4000744"/>
              <a:gd name="connsiteY68" fmla="*/ 5316515 h 7599351"/>
              <a:gd name="connsiteX69" fmla="*/ 201070 w 4000744"/>
              <a:gd name="connsiteY69" fmla="*/ 5324403 h 7599351"/>
              <a:gd name="connsiteX70" fmla="*/ 1725962 w 4000744"/>
              <a:gd name="connsiteY70" fmla="*/ 3799511 h 7599351"/>
              <a:gd name="connsiteX71" fmla="*/ 201070 w 4000744"/>
              <a:gd name="connsiteY71" fmla="*/ 2274619 h 7599351"/>
              <a:gd name="connsiteX72" fmla="*/ 45361 w 4000744"/>
              <a:gd name="connsiteY72" fmla="*/ 2282507 h 7599351"/>
              <a:gd name="connsiteX73" fmla="*/ 0 w 4000744"/>
              <a:gd name="connsiteY73" fmla="*/ 2289450 h 7599351"/>
              <a:gd name="connsiteX74" fmla="*/ 0 w 4000744"/>
              <a:gd name="connsiteY74" fmla="*/ 2120489 h 7599351"/>
              <a:gd name="connsiteX75" fmla="*/ 28310 w 4000744"/>
              <a:gd name="connsiteY75" fmla="*/ 2116155 h 7599351"/>
              <a:gd name="connsiteX76" fmla="*/ 201070 w 4000744"/>
              <a:gd name="connsiteY76" fmla="*/ 2107400 h 7599351"/>
              <a:gd name="connsiteX77" fmla="*/ 1893346 w 4000744"/>
              <a:gd name="connsiteY77" fmla="*/ 3799679 h 7599351"/>
              <a:gd name="connsiteX78" fmla="*/ 201070 w 4000744"/>
              <a:gd name="connsiteY78" fmla="*/ 5491955 h 7599351"/>
              <a:gd name="connsiteX79" fmla="*/ 28282 w 4000744"/>
              <a:gd name="connsiteY79" fmla="*/ 5483200 h 7599351"/>
              <a:gd name="connsiteX80" fmla="*/ 0 w 4000744"/>
              <a:gd name="connsiteY80" fmla="*/ 6021257 h 7599351"/>
              <a:gd name="connsiteX81" fmla="*/ 0 w 4000744"/>
              <a:gd name="connsiteY81" fmla="*/ 5853700 h 7599351"/>
              <a:gd name="connsiteX82" fmla="*/ 201070 w 4000744"/>
              <a:gd name="connsiteY82" fmla="*/ 5863889 h 7599351"/>
              <a:gd name="connsiteX83" fmla="*/ 2265449 w 4000744"/>
              <a:gd name="connsiteY83" fmla="*/ 3799511 h 7599351"/>
              <a:gd name="connsiteX84" fmla="*/ 201070 w 4000744"/>
              <a:gd name="connsiteY84" fmla="*/ 1735130 h 7599351"/>
              <a:gd name="connsiteX85" fmla="*/ 0 w 4000744"/>
              <a:gd name="connsiteY85" fmla="*/ 1745317 h 7599351"/>
              <a:gd name="connsiteX86" fmla="*/ 0 w 4000744"/>
              <a:gd name="connsiteY86" fmla="*/ 1578097 h 7599351"/>
              <a:gd name="connsiteX87" fmla="*/ 201070 w 4000744"/>
              <a:gd name="connsiteY87" fmla="*/ 1567911 h 7599351"/>
              <a:gd name="connsiteX88" fmla="*/ 2432835 w 4000744"/>
              <a:gd name="connsiteY88" fmla="*/ 3799676 h 7599351"/>
              <a:gd name="connsiteX89" fmla="*/ 201070 w 4000744"/>
              <a:gd name="connsiteY89" fmla="*/ 6031443 h 7599351"/>
              <a:gd name="connsiteX90" fmla="*/ 0 w 4000744"/>
              <a:gd name="connsiteY90" fmla="*/ 6308321 h 7599351"/>
              <a:gd name="connsiteX91" fmla="*/ 0 w 4000744"/>
              <a:gd name="connsiteY91" fmla="*/ 6140766 h 7599351"/>
              <a:gd name="connsiteX92" fmla="*/ 201070 w 4000744"/>
              <a:gd name="connsiteY92" fmla="*/ 6150953 h 7599351"/>
              <a:gd name="connsiteX93" fmla="*/ 2552517 w 4000744"/>
              <a:gd name="connsiteY93" fmla="*/ 3799507 h 7599351"/>
              <a:gd name="connsiteX94" fmla="*/ 201070 w 4000744"/>
              <a:gd name="connsiteY94" fmla="*/ 1448061 h 7599351"/>
              <a:gd name="connsiteX95" fmla="*/ 0 w 4000744"/>
              <a:gd name="connsiteY95" fmla="*/ 1458247 h 7599351"/>
              <a:gd name="connsiteX96" fmla="*/ 0 w 4000744"/>
              <a:gd name="connsiteY96" fmla="*/ 1291029 h 7599351"/>
              <a:gd name="connsiteX97" fmla="*/ 201070 w 4000744"/>
              <a:gd name="connsiteY97" fmla="*/ 1280841 h 7599351"/>
              <a:gd name="connsiteX98" fmla="*/ 2719904 w 4000744"/>
              <a:gd name="connsiteY98" fmla="*/ 3799675 h 7599351"/>
              <a:gd name="connsiteX99" fmla="*/ 201070 w 4000744"/>
              <a:gd name="connsiteY99" fmla="*/ 6318507 h 7599351"/>
              <a:gd name="connsiteX100" fmla="*/ 0 w 4000744"/>
              <a:gd name="connsiteY100" fmla="*/ 6612795 h 7599351"/>
              <a:gd name="connsiteX101" fmla="*/ 0 w 4000744"/>
              <a:gd name="connsiteY101" fmla="*/ 6445576 h 7599351"/>
              <a:gd name="connsiteX102" fmla="*/ 201070 w 4000744"/>
              <a:gd name="connsiteY102" fmla="*/ 6455762 h 7599351"/>
              <a:gd name="connsiteX103" fmla="*/ 2856992 w 4000744"/>
              <a:gd name="connsiteY103" fmla="*/ 3799839 h 7599351"/>
              <a:gd name="connsiteX104" fmla="*/ 201070 w 4000744"/>
              <a:gd name="connsiteY104" fmla="*/ 1143917 h 7599351"/>
              <a:gd name="connsiteX105" fmla="*/ 0 w 4000744"/>
              <a:gd name="connsiteY105" fmla="*/ 1154105 h 7599351"/>
              <a:gd name="connsiteX106" fmla="*/ 0 w 4000744"/>
              <a:gd name="connsiteY106" fmla="*/ 986547 h 7599351"/>
              <a:gd name="connsiteX107" fmla="*/ 201070 w 4000744"/>
              <a:gd name="connsiteY107" fmla="*/ 976363 h 7599351"/>
              <a:gd name="connsiteX108" fmla="*/ 3024379 w 4000744"/>
              <a:gd name="connsiteY108" fmla="*/ 3799674 h 7599351"/>
              <a:gd name="connsiteX109" fmla="*/ 201070 w 4000744"/>
              <a:gd name="connsiteY109" fmla="*/ 6622981 h 7599351"/>
              <a:gd name="connsiteX110" fmla="*/ 0 w 4000744"/>
              <a:gd name="connsiteY110" fmla="*/ 7263003 h 7599351"/>
              <a:gd name="connsiteX111" fmla="*/ 0 w 4000744"/>
              <a:gd name="connsiteY111" fmla="*/ 7091692 h 7599351"/>
              <a:gd name="connsiteX112" fmla="*/ 201069 w 4000744"/>
              <a:gd name="connsiteY112" fmla="*/ 7101878 h 7599351"/>
              <a:gd name="connsiteX113" fmla="*/ 3503272 w 4000744"/>
              <a:gd name="connsiteY113" fmla="*/ 3799676 h 7599351"/>
              <a:gd name="connsiteX114" fmla="*/ 201069 w 4000744"/>
              <a:gd name="connsiteY114" fmla="*/ 497473 h 7599351"/>
              <a:gd name="connsiteX115" fmla="*/ 0 w 4000744"/>
              <a:gd name="connsiteY115" fmla="*/ 507659 h 7599351"/>
              <a:gd name="connsiteX116" fmla="*/ 0 w 4000744"/>
              <a:gd name="connsiteY116" fmla="*/ 336347 h 7599351"/>
              <a:gd name="connsiteX117" fmla="*/ 22786 w 4000744"/>
              <a:gd name="connsiteY117" fmla="*/ 334609 h 7599351"/>
              <a:gd name="connsiteX118" fmla="*/ 201069 w 4000744"/>
              <a:gd name="connsiteY118" fmla="*/ 330085 h 7599351"/>
              <a:gd name="connsiteX119" fmla="*/ 3670658 w 4000744"/>
              <a:gd name="connsiteY119" fmla="*/ 3799676 h 7599351"/>
              <a:gd name="connsiteX120" fmla="*/ 201069 w 4000744"/>
              <a:gd name="connsiteY120" fmla="*/ 7269265 h 7599351"/>
              <a:gd name="connsiteX121" fmla="*/ 22800 w 4000744"/>
              <a:gd name="connsiteY121" fmla="*/ 7264742 h 7599351"/>
              <a:gd name="connsiteX122" fmla="*/ 0 w 4000744"/>
              <a:gd name="connsiteY122" fmla="*/ 7593891 h 7599351"/>
              <a:gd name="connsiteX123" fmla="*/ 0 w 4000744"/>
              <a:gd name="connsiteY123" fmla="*/ 7426126 h 7599351"/>
              <a:gd name="connsiteX124" fmla="*/ 14441 w 4000744"/>
              <a:gd name="connsiteY124" fmla="*/ 7427229 h 7599351"/>
              <a:gd name="connsiteX125" fmla="*/ 201070 w 4000744"/>
              <a:gd name="connsiteY125" fmla="*/ 7431963 h 7599351"/>
              <a:gd name="connsiteX126" fmla="*/ 3833358 w 4000744"/>
              <a:gd name="connsiteY126" fmla="*/ 3799677 h 7599351"/>
              <a:gd name="connsiteX127" fmla="*/ 201070 w 4000744"/>
              <a:gd name="connsiteY127" fmla="*/ 167387 h 7599351"/>
              <a:gd name="connsiteX128" fmla="*/ 14441 w 4000744"/>
              <a:gd name="connsiteY128" fmla="*/ 172123 h 7599351"/>
              <a:gd name="connsiteX129" fmla="*/ 0 w 4000744"/>
              <a:gd name="connsiteY129" fmla="*/ 173224 h 7599351"/>
              <a:gd name="connsiteX130" fmla="*/ 0 w 4000744"/>
              <a:gd name="connsiteY130" fmla="*/ 5461 h 7599351"/>
              <a:gd name="connsiteX131" fmla="*/ 11538 w 4000744"/>
              <a:gd name="connsiteY131" fmla="*/ 4615 h 7599351"/>
              <a:gd name="connsiteX132" fmla="*/ 201070 w 4000744"/>
              <a:gd name="connsiteY132" fmla="*/ 0 h 7599351"/>
              <a:gd name="connsiteX133" fmla="*/ 2887792 w 4000744"/>
              <a:gd name="connsiteY133" fmla="*/ 1112953 h 7599351"/>
              <a:gd name="connsiteX134" fmla="*/ 4000744 w 4000744"/>
              <a:gd name="connsiteY134" fmla="*/ 3799677 h 7599351"/>
              <a:gd name="connsiteX135" fmla="*/ 2887791 w 4000744"/>
              <a:gd name="connsiteY135" fmla="*/ 6486398 h 7599351"/>
              <a:gd name="connsiteX136" fmla="*/ 201070 w 4000744"/>
              <a:gd name="connsiteY136" fmla="*/ 7599351 h 7599351"/>
              <a:gd name="connsiteX137" fmla="*/ 11536 w 4000744"/>
              <a:gd name="connsiteY137" fmla="*/ 7594738 h 7599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4000744" h="7599351">
                <a:moveTo>
                  <a:pt x="1" y="4626871"/>
                </a:moveTo>
                <a:lnTo>
                  <a:pt x="1" y="4452423"/>
                </a:lnTo>
                <a:lnTo>
                  <a:pt x="62925" y="4471994"/>
                </a:lnTo>
                <a:cubicBezTo>
                  <a:pt x="107562" y="4481151"/>
                  <a:pt x="153766" y="4485961"/>
                  <a:pt x="201073" y="4485961"/>
                </a:cubicBezTo>
                <a:cubicBezTo>
                  <a:pt x="579533" y="4485961"/>
                  <a:pt x="887356" y="4178136"/>
                  <a:pt x="887356" y="3799677"/>
                </a:cubicBezTo>
                <a:cubicBezTo>
                  <a:pt x="887356" y="3421215"/>
                  <a:pt x="579533" y="3113391"/>
                  <a:pt x="201073" y="3113391"/>
                </a:cubicBezTo>
                <a:cubicBezTo>
                  <a:pt x="153766" y="3113391"/>
                  <a:pt x="107562" y="3118201"/>
                  <a:pt x="62925" y="3127357"/>
                </a:cubicBezTo>
                <a:lnTo>
                  <a:pt x="1" y="3146929"/>
                </a:lnTo>
                <a:lnTo>
                  <a:pt x="1" y="2972480"/>
                </a:lnTo>
                <a:lnTo>
                  <a:pt x="29252" y="2963380"/>
                </a:lnTo>
                <a:cubicBezTo>
                  <a:pt x="84771" y="2951988"/>
                  <a:pt x="142237" y="2946004"/>
                  <a:pt x="201073" y="2946004"/>
                </a:cubicBezTo>
                <a:cubicBezTo>
                  <a:pt x="671762" y="2946004"/>
                  <a:pt x="1054742" y="3328985"/>
                  <a:pt x="1054742" y="3799677"/>
                </a:cubicBezTo>
                <a:cubicBezTo>
                  <a:pt x="1054742" y="4270366"/>
                  <a:pt x="671762" y="4653347"/>
                  <a:pt x="201073" y="4653347"/>
                </a:cubicBezTo>
                <a:cubicBezTo>
                  <a:pt x="142237" y="4653347"/>
                  <a:pt x="84771" y="4647363"/>
                  <a:pt x="29252" y="4635972"/>
                </a:cubicBezTo>
                <a:close/>
                <a:moveTo>
                  <a:pt x="1" y="5748133"/>
                </a:moveTo>
                <a:lnTo>
                  <a:pt x="1" y="5579165"/>
                </a:lnTo>
                <a:lnTo>
                  <a:pt x="18177" y="5581947"/>
                </a:lnTo>
                <a:cubicBezTo>
                  <a:pt x="78322" y="5588074"/>
                  <a:pt x="139337" y="5591214"/>
                  <a:pt x="201071" y="5591214"/>
                </a:cubicBezTo>
                <a:cubicBezTo>
                  <a:pt x="1188818" y="5591214"/>
                  <a:pt x="1992443" y="4787590"/>
                  <a:pt x="1992443" y="3799842"/>
                </a:cubicBezTo>
                <a:cubicBezTo>
                  <a:pt x="1992443" y="2812093"/>
                  <a:pt x="1188818" y="2008470"/>
                  <a:pt x="201071" y="2008470"/>
                </a:cubicBezTo>
                <a:cubicBezTo>
                  <a:pt x="139337" y="2008470"/>
                  <a:pt x="78322" y="2011609"/>
                  <a:pt x="18177" y="2017736"/>
                </a:cubicBezTo>
                <a:lnTo>
                  <a:pt x="1" y="2020518"/>
                </a:lnTo>
                <a:lnTo>
                  <a:pt x="1" y="1851210"/>
                </a:lnTo>
                <a:lnTo>
                  <a:pt x="1070" y="1851046"/>
                </a:lnTo>
                <a:cubicBezTo>
                  <a:pt x="66840" y="1844347"/>
                  <a:pt x="133562" y="1840915"/>
                  <a:pt x="201071" y="1840915"/>
                </a:cubicBezTo>
                <a:cubicBezTo>
                  <a:pt x="1281215" y="1840915"/>
                  <a:pt x="2159830" y="2719528"/>
                  <a:pt x="2159830" y="3799675"/>
                </a:cubicBezTo>
                <a:cubicBezTo>
                  <a:pt x="2159830" y="4879819"/>
                  <a:pt x="1281215" y="5758432"/>
                  <a:pt x="201071" y="5758432"/>
                </a:cubicBezTo>
                <a:cubicBezTo>
                  <a:pt x="133572" y="5758432"/>
                  <a:pt x="66859" y="5755000"/>
                  <a:pt x="1098" y="5748302"/>
                </a:cubicBezTo>
                <a:close/>
                <a:moveTo>
                  <a:pt x="1" y="6928825"/>
                </a:moveTo>
                <a:lnTo>
                  <a:pt x="1" y="6761269"/>
                </a:lnTo>
                <a:lnTo>
                  <a:pt x="201071" y="6771456"/>
                </a:lnTo>
                <a:cubicBezTo>
                  <a:pt x="1839618" y="6771456"/>
                  <a:pt x="3172851" y="5438225"/>
                  <a:pt x="3172851" y="3799679"/>
                </a:cubicBezTo>
                <a:cubicBezTo>
                  <a:pt x="3172851" y="2161131"/>
                  <a:pt x="1839618" y="827896"/>
                  <a:pt x="201071" y="827896"/>
                </a:cubicBezTo>
                <a:lnTo>
                  <a:pt x="1" y="838083"/>
                </a:lnTo>
                <a:lnTo>
                  <a:pt x="1" y="670865"/>
                </a:lnTo>
                <a:lnTo>
                  <a:pt x="201071" y="660678"/>
                </a:lnTo>
                <a:cubicBezTo>
                  <a:pt x="1932015" y="660678"/>
                  <a:pt x="3340238" y="2068900"/>
                  <a:pt x="3340238" y="3799847"/>
                </a:cubicBezTo>
                <a:cubicBezTo>
                  <a:pt x="3340238" y="5530790"/>
                  <a:pt x="1932015" y="6939011"/>
                  <a:pt x="201071" y="6939011"/>
                </a:cubicBezTo>
                <a:close/>
                <a:moveTo>
                  <a:pt x="0" y="4928501"/>
                </a:moveTo>
                <a:lnTo>
                  <a:pt x="0" y="4758936"/>
                </a:lnTo>
                <a:lnTo>
                  <a:pt x="3771" y="4760109"/>
                </a:lnTo>
                <a:cubicBezTo>
                  <a:pt x="67521" y="4773188"/>
                  <a:pt x="133508" y="4780059"/>
                  <a:pt x="201070" y="4780059"/>
                </a:cubicBezTo>
                <a:cubicBezTo>
                  <a:pt x="741561" y="4780059"/>
                  <a:pt x="1181285" y="4340336"/>
                  <a:pt x="1181285" y="3799844"/>
                </a:cubicBezTo>
                <a:cubicBezTo>
                  <a:pt x="1181285" y="3259353"/>
                  <a:pt x="741561" y="2819630"/>
                  <a:pt x="201070" y="2819630"/>
                </a:cubicBezTo>
                <a:cubicBezTo>
                  <a:pt x="133508" y="2819630"/>
                  <a:pt x="67521" y="2826500"/>
                  <a:pt x="3771" y="2839580"/>
                </a:cubicBezTo>
                <a:lnTo>
                  <a:pt x="0" y="2840753"/>
                </a:lnTo>
                <a:lnTo>
                  <a:pt x="0" y="2670845"/>
                </a:lnTo>
                <a:lnTo>
                  <a:pt x="83885" y="2658010"/>
                </a:lnTo>
                <a:cubicBezTo>
                  <a:pt x="122420" y="2654086"/>
                  <a:pt x="161514" y="2652075"/>
                  <a:pt x="201070" y="2652075"/>
                </a:cubicBezTo>
                <a:cubicBezTo>
                  <a:pt x="833958" y="2652075"/>
                  <a:pt x="1348672" y="3166788"/>
                  <a:pt x="1348672" y="3799677"/>
                </a:cubicBezTo>
                <a:cubicBezTo>
                  <a:pt x="1348672" y="4432565"/>
                  <a:pt x="833958" y="4947278"/>
                  <a:pt x="201070" y="4947278"/>
                </a:cubicBezTo>
                <a:cubicBezTo>
                  <a:pt x="161525" y="4947278"/>
                  <a:pt x="122440" y="4945267"/>
                  <a:pt x="83912" y="4941343"/>
                </a:cubicBezTo>
                <a:close/>
                <a:moveTo>
                  <a:pt x="0" y="5215188"/>
                </a:moveTo>
                <a:lnTo>
                  <a:pt x="0" y="5046223"/>
                </a:lnTo>
                <a:lnTo>
                  <a:pt x="72015" y="5057243"/>
                </a:lnTo>
                <a:cubicBezTo>
                  <a:pt x="114455" y="5061566"/>
                  <a:pt x="157509" y="5063781"/>
                  <a:pt x="201071" y="5063781"/>
                </a:cubicBezTo>
                <a:cubicBezTo>
                  <a:pt x="898069" y="5063781"/>
                  <a:pt x="1465008" y="4496839"/>
                  <a:pt x="1465008" y="3799844"/>
                </a:cubicBezTo>
                <a:cubicBezTo>
                  <a:pt x="1465008" y="3102845"/>
                  <a:pt x="898069" y="2535907"/>
                  <a:pt x="201071" y="2535907"/>
                </a:cubicBezTo>
                <a:cubicBezTo>
                  <a:pt x="157519" y="2535907"/>
                  <a:pt x="114474" y="2538121"/>
                  <a:pt x="72043" y="2542444"/>
                </a:cubicBezTo>
                <a:lnTo>
                  <a:pt x="0" y="2553470"/>
                </a:lnTo>
                <a:lnTo>
                  <a:pt x="0" y="2384164"/>
                </a:lnTo>
                <a:lnTo>
                  <a:pt x="54936" y="2375756"/>
                </a:lnTo>
                <a:cubicBezTo>
                  <a:pt x="102993" y="2370860"/>
                  <a:pt x="151745" y="2368352"/>
                  <a:pt x="201071" y="2368352"/>
                </a:cubicBezTo>
                <a:cubicBezTo>
                  <a:pt x="990299" y="2368352"/>
                  <a:pt x="1632395" y="3010448"/>
                  <a:pt x="1632395" y="3799676"/>
                </a:cubicBezTo>
                <a:cubicBezTo>
                  <a:pt x="1632395" y="4588904"/>
                  <a:pt x="990299" y="5231000"/>
                  <a:pt x="201071" y="5231000"/>
                </a:cubicBezTo>
                <a:cubicBezTo>
                  <a:pt x="151745" y="5231000"/>
                  <a:pt x="102993" y="5228491"/>
                  <a:pt x="54936" y="5223596"/>
                </a:cubicBezTo>
                <a:close/>
                <a:moveTo>
                  <a:pt x="0" y="5478871"/>
                </a:moveTo>
                <a:lnTo>
                  <a:pt x="0" y="5309567"/>
                </a:lnTo>
                <a:lnTo>
                  <a:pt x="45388" y="5316515"/>
                </a:lnTo>
                <a:cubicBezTo>
                  <a:pt x="96585" y="5321731"/>
                  <a:pt x="148521" y="5324403"/>
                  <a:pt x="201070" y="5324403"/>
                </a:cubicBezTo>
                <a:cubicBezTo>
                  <a:pt x="1041853" y="5324403"/>
                  <a:pt x="1725962" y="4640294"/>
                  <a:pt x="1725962" y="3799511"/>
                </a:cubicBezTo>
                <a:cubicBezTo>
                  <a:pt x="1725962" y="2958728"/>
                  <a:pt x="1041853" y="2274619"/>
                  <a:pt x="201070" y="2274619"/>
                </a:cubicBezTo>
                <a:cubicBezTo>
                  <a:pt x="148511" y="2274619"/>
                  <a:pt x="96565" y="2277292"/>
                  <a:pt x="45361" y="2282507"/>
                </a:cubicBezTo>
                <a:lnTo>
                  <a:pt x="0" y="2289450"/>
                </a:lnTo>
                <a:lnTo>
                  <a:pt x="0" y="2120489"/>
                </a:lnTo>
                <a:lnTo>
                  <a:pt x="28310" y="2116155"/>
                </a:lnTo>
                <a:cubicBezTo>
                  <a:pt x="85123" y="2110366"/>
                  <a:pt x="142757" y="2107400"/>
                  <a:pt x="201070" y="2107400"/>
                </a:cubicBezTo>
                <a:cubicBezTo>
                  <a:pt x="1134082" y="2107400"/>
                  <a:pt x="1893346" y="2866667"/>
                  <a:pt x="1893346" y="3799679"/>
                </a:cubicBezTo>
                <a:cubicBezTo>
                  <a:pt x="1893346" y="4732691"/>
                  <a:pt x="1134082" y="5491955"/>
                  <a:pt x="201070" y="5491955"/>
                </a:cubicBezTo>
                <a:cubicBezTo>
                  <a:pt x="142747" y="5491955"/>
                  <a:pt x="85103" y="5488989"/>
                  <a:pt x="28282" y="5483200"/>
                </a:cubicBezTo>
                <a:close/>
                <a:moveTo>
                  <a:pt x="0" y="6021257"/>
                </a:moveTo>
                <a:lnTo>
                  <a:pt x="0" y="5853700"/>
                </a:lnTo>
                <a:lnTo>
                  <a:pt x="201070" y="5863889"/>
                </a:lnTo>
                <a:cubicBezTo>
                  <a:pt x="1339299" y="5863889"/>
                  <a:pt x="2265449" y="4937738"/>
                  <a:pt x="2265449" y="3799511"/>
                </a:cubicBezTo>
                <a:cubicBezTo>
                  <a:pt x="2265449" y="2661280"/>
                  <a:pt x="1339299" y="1735130"/>
                  <a:pt x="201070" y="1735130"/>
                </a:cubicBezTo>
                <a:lnTo>
                  <a:pt x="0" y="1745317"/>
                </a:lnTo>
                <a:lnTo>
                  <a:pt x="0" y="1578097"/>
                </a:lnTo>
                <a:lnTo>
                  <a:pt x="201070" y="1567911"/>
                </a:lnTo>
                <a:cubicBezTo>
                  <a:pt x="1431696" y="1567911"/>
                  <a:pt x="2432835" y="2569051"/>
                  <a:pt x="2432835" y="3799676"/>
                </a:cubicBezTo>
                <a:cubicBezTo>
                  <a:pt x="2432835" y="5030303"/>
                  <a:pt x="1431696" y="6031443"/>
                  <a:pt x="201070" y="6031443"/>
                </a:cubicBezTo>
                <a:close/>
                <a:moveTo>
                  <a:pt x="0" y="6308321"/>
                </a:moveTo>
                <a:lnTo>
                  <a:pt x="0" y="6140766"/>
                </a:lnTo>
                <a:lnTo>
                  <a:pt x="201070" y="6150953"/>
                </a:lnTo>
                <a:cubicBezTo>
                  <a:pt x="1497647" y="6150953"/>
                  <a:pt x="2552517" y="5096084"/>
                  <a:pt x="2552517" y="3799507"/>
                </a:cubicBezTo>
                <a:cubicBezTo>
                  <a:pt x="2552517" y="2502930"/>
                  <a:pt x="1497647" y="1448061"/>
                  <a:pt x="201070" y="1448061"/>
                </a:cubicBezTo>
                <a:lnTo>
                  <a:pt x="0" y="1458247"/>
                </a:lnTo>
                <a:lnTo>
                  <a:pt x="0" y="1291029"/>
                </a:lnTo>
                <a:lnTo>
                  <a:pt x="201070" y="1280841"/>
                </a:lnTo>
                <a:cubicBezTo>
                  <a:pt x="1589877" y="1280841"/>
                  <a:pt x="2719904" y="2410869"/>
                  <a:pt x="2719904" y="3799675"/>
                </a:cubicBezTo>
                <a:cubicBezTo>
                  <a:pt x="2719904" y="5188481"/>
                  <a:pt x="1589877" y="6318507"/>
                  <a:pt x="201070" y="6318507"/>
                </a:cubicBezTo>
                <a:close/>
                <a:moveTo>
                  <a:pt x="0" y="6612795"/>
                </a:moveTo>
                <a:lnTo>
                  <a:pt x="0" y="6445576"/>
                </a:lnTo>
                <a:lnTo>
                  <a:pt x="201070" y="6455762"/>
                </a:lnTo>
                <a:cubicBezTo>
                  <a:pt x="1665535" y="6455762"/>
                  <a:pt x="2856992" y="5264306"/>
                  <a:pt x="2856992" y="3799839"/>
                </a:cubicBezTo>
                <a:cubicBezTo>
                  <a:pt x="2856992" y="2335374"/>
                  <a:pt x="1665535" y="1143917"/>
                  <a:pt x="201070" y="1143917"/>
                </a:cubicBezTo>
                <a:lnTo>
                  <a:pt x="0" y="1154105"/>
                </a:lnTo>
                <a:lnTo>
                  <a:pt x="0" y="986547"/>
                </a:lnTo>
                <a:lnTo>
                  <a:pt x="201070" y="976363"/>
                </a:lnTo>
                <a:cubicBezTo>
                  <a:pt x="1757932" y="976363"/>
                  <a:pt x="3024379" y="2242809"/>
                  <a:pt x="3024379" y="3799674"/>
                </a:cubicBezTo>
                <a:cubicBezTo>
                  <a:pt x="3024379" y="5356536"/>
                  <a:pt x="1757932" y="6622981"/>
                  <a:pt x="201070" y="6622981"/>
                </a:cubicBezTo>
                <a:close/>
                <a:moveTo>
                  <a:pt x="0" y="7263003"/>
                </a:moveTo>
                <a:lnTo>
                  <a:pt x="0" y="7091692"/>
                </a:lnTo>
                <a:lnTo>
                  <a:pt x="201069" y="7101878"/>
                </a:lnTo>
                <a:cubicBezTo>
                  <a:pt x="2021900" y="7101878"/>
                  <a:pt x="3503272" y="5620507"/>
                  <a:pt x="3503272" y="3799676"/>
                </a:cubicBezTo>
                <a:cubicBezTo>
                  <a:pt x="3503272" y="1978844"/>
                  <a:pt x="2021900" y="497473"/>
                  <a:pt x="201069" y="497473"/>
                </a:cubicBezTo>
                <a:lnTo>
                  <a:pt x="0" y="507659"/>
                </a:lnTo>
                <a:lnTo>
                  <a:pt x="0" y="336347"/>
                </a:lnTo>
                <a:lnTo>
                  <a:pt x="22786" y="334609"/>
                </a:lnTo>
                <a:cubicBezTo>
                  <a:pt x="81840" y="331605"/>
                  <a:pt x="141280" y="330085"/>
                  <a:pt x="201069" y="330085"/>
                </a:cubicBezTo>
                <a:cubicBezTo>
                  <a:pt x="2114297" y="330085"/>
                  <a:pt x="3670658" y="1886447"/>
                  <a:pt x="3670658" y="3799676"/>
                </a:cubicBezTo>
                <a:cubicBezTo>
                  <a:pt x="3670658" y="5712904"/>
                  <a:pt x="2114297" y="7269265"/>
                  <a:pt x="201069" y="7269265"/>
                </a:cubicBezTo>
                <a:cubicBezTo>
                  <a:pt x="141285" y="7269265"/>
                  <a:pt x="81851" y="7267745"/>
                  <a:pt x="22800" y="7264742"/>
                </a:cubicBezTo>
                <a:close/>
                <a:moveTo>
                  <a:pt x="0" y="7593891"/>
                </a:moveTo>
                <a:lnTo>
                  <a:pt x="0" y="7426126"/>
                </a:lnTo>
                <a:lnTo>
                  <a:pt x="14441" y="7427229"/>
                </a:lnTo>
                <a:cubicBezTo>
                  <a:pt x="76261" y="7430372"/>
                  <a:pt x="138483" y="7431963"/>
                  <a:pt x="201070" y="7431963"/>
                </a:cubicBezTo>
                <a:cubicBezTo>
                  <a:pt x="2203849" y="7431963"/>
                  <a:pt x="3833358" y="5802456"/>
                  <a:pt x="3833358" y="3799677"/>
                </a:cubicBezTo>
                <a:cubicBezTo>
                  <a:pt x="3833358" y="1796894"/>
                  <a:pt x="2203850" y="167387"/>
                  <a:pt x="201070" y="167387"/>
                </a:cubicBezTo>
                <a:cubicBezTo>
                  <a:pt x="138483" y="167387"/>
                  <a:pt x="76261" y="168978"/>
                  <a:pt x="14441" y="172123"/>
                </a:cubicBezTo>
                <a:lnTo>
                  <a:pt x="0" y="173224"/>
                </a:lnTo>
                <a:lnTo>
                  <a:pt x="0" y="5461"/>
                </a:lnTo>
                <a:lnTo>
                  <a:pt x="11538" y="4615"/>
                </a:lnTo>
                <a:cubicBezTo>
                  <a:pt x="74450" y="1544"/>
                  <a:pt x="137641" y="0"/>
                  <a:pt x="201070" y="0"/>
                </a:cubicBezTo>
                <a:cubicBezTo>
                  <a:pt x="1215935" y="0"/>
                  <a:pt x="2170205" y="395199"/>
                  <a:pt x="2887792" y="1112953"/>
                </a:cubicBezTo>
                <a:cubicBezTo>
                  <a:pt x="3605378" y="1830539"/>
                  <a:pt x="4000744" y="2784812"/>
                  <a:pt x="4000744" y="3799677"/>
                </a:cubicBezTo>
                <a:cubicBezTo>
                  <a:pt x="4000744" y="4814542"/>
                  <a:pt x="3605546" y="5768812"/>
                  <a:pt x="2887791" y="6486398"/>
                </a:cubicBezTo>
                <a:cubicBezTo>
                  <a:pt x="2170036" y="7203984"/>
                  <a:pt x="1215935" y="7599351"/>
                  <a:pt x="201070" y="7599351"/>
                </a:cubicBezTo>
                <a:cubicBezTo>
                  <a:pt x="137641" y="7599351"/>
                  <a:pt x="74449" y="7597807"/>
                  <a:pt x="11536" y="7594738"/>
                </a:cubicBezTo>
                <a:close/>
              </a:path>
            </a:pathLst>
          </a:custGeom>
          <a:solidFill>
            <a:schemeClr val="accent5">
              <a:alpha val="22000"/>
            </a:schemeClr>
          </a:solidFill>
          <a:ln w="688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2000"/>
          </a:p>
        </p:txBody>
      </p:sp>
      <p:sp>
        <p:nvSpPr>
          <p:cNvPr id="93" name="Text Placeholder 3">
            <a:extLst>
              <a:ext uri="{FF2B5EF4-FFF2-40B4-BE49-F238E27FC236}">
                <a16:creationId xmlns:a16="http://schemas.microsoft.com/office/drawing/2014/main" id="{09E01744-4CF5-8307-468D-A2A7D90F91B0}"/>
              </a:ext>
            </a:extLst>
          </p:cNvPr>
          <p:cNvSpPr txBox="1">
            <a:spLocks/>
          </p:cNvSpPr>
          <p:nvPr/>
        </p:nvSpPr>
        <p:spPr>
          <a:xfrm>
            <a:off x="867276" y="6221650"/>
            <a:ext cx="10553700" cy="61042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100" b="1">
                <a:solidFill>
                  <a:schemeClr val="accent5"/>
                </a:solidFill>
                <a:ea typeface="+mj-ea"/>
                <a:cs typeface="+mj-cs"/>
              </a:rPr>
              <a:t>Solutions that span key sustainability categorie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C0EC5BC-FFA8-03C7-2AA6-663F7720C2BF}"/>
              </a:ext>
            </a:extLst>
          </p:cNvPr>
          <p:cNvSpPr/>
          <p:nvPr/>
        </p:nvSpPr>
        <p:spPr>
          <a:xfrm>
            <a:off x="5205412" y="4765445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ENERG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71D7943F-60B1-A8AD-ECCC-04807EB51B86}"/>
              </a:ext>
            </a:extLst>
          </p:cNvPr>
          <p:cNvSpPr>
            <a:spLocks/>
          </p:cNvSpPr>
          <p:nvPr/>
        </p:nvSpPr>
        <p:spPr>
          <a:xfrm>
            <a:off x="982305" y="3662985"/>
            <a:ext cx="225919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LEARNING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91BB182A-6D62-6334-B6C1-26B3E7208513}"/>
              </a:ext>
            </a:extLst>
          </p:cNvPr>
          <p:cNvSpPr>
            <a:spLocks/>
          </p:cNvSpPr>
          <p:nvPr/>
        </p:nvSpPr>
        <p:spPr>
          <a:xfrm>
            <a:off x="8886331" y="3797597"/>
            <a:ext cx="225919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PACKAG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6C80BE7-66C9-77CD-A096-88E478C783E6}"/>
              </a:ext>
            </a:extLst>
          </p:cNvPr>
          <p:cNvSpPr/>
          <p:nvPr/>
        </p:nvSpPr>
        <p:spPr>
          <a:xfrm>
            <a:off x="10174600" y="1553856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RECYCL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0E48CC6-1404-B4FB-BAAE-CC1A3FE405D3}"/>
              </a:ext>
            </a:extLst>
          </p:cNvPr>
          <p:cNvSpPr/>
          <p:nvPr/>
        </p:nvSpPr>
        <p:spPr>
          <a:xfrm>
            <a:off x="236224" y="1553856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AGRICULTUR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772B4B3-DEAC-7A8E-279D-3C66EDC7B33D}"/>
              </a:ext>
            </a:extLst>
          </p:cNvPr>
          <p:cNvSpPr/>
          <p:nvPr/>
        </p:nvSpPr>
        <p:spPr>
          <a:xfrm>
            <a:off x="1309467" y="4276956"/>
            <a:ext cx="1899950" cy="760874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ility Summi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ility</a:t>
            </a:r>
            <a:b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Action Center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1C8EF56-1E4D-083B-D418-CDEB406D4763}"/>
              </a:ext>
            </a:extLst>
          </p:cNvPr>
          <p:cNvSpPr>
            <a:spLocks/>
          </p:cNvSpPr>
          <p:nvPr/>
        </p:nvSpPr>
        <p:spPr>
          <a:xfrm>
            <a:off x="10174600" y="2116950"/>
            <a:ext cx="2017400" cy="646331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CIRQU </a:t>
            </a:r>
            <a:b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Oscar Sort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cycling Bins</a:t>
            </a:r>
            <a:b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cycle Rally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>
                <a:solidFill>
                  <a:srgbClr val="8EDB43"/>
                </a:solidFill>
                <a:ea typeface="+mj-ea"/>
                <a:cs typeface="+mj-cs"/>
              </a:rPr>
              <a:t>Olyns Reverse Vend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E92EF4-47A2-C697-60D0-9A33B3AE4281}"/>
              </a:ext>
            </a:extLst>
          </p:cNvPr>
          <p:cNvSpPr/>
          <p:nvPr/>
        </p:nvSpPr>
        <p:spPr>
          <a:xfrm>
            <a:off x="8886330" y="4423728"/>
            <a:ext cx="2528825" cy="1243265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spcBef>
                <a:spcPts val="600"/>
              </a:spcBef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le Cup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N" sz="1600" b="1" dirty="0">
              <a:solidFill>
                <a:srgbClr val="8EDB43"/>
              </a:solidFill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72DBED-A601-4221-B465-325473C3726F}"/>
              </a:ext>
            </a:extLst>
          </p:cNvPr>
          <p:cNvSpPr>
            <a:spLocks/>
          </p:cNvSpPr>
          <p:nvPr/>
        </p:nvSpPr>
        <p:spPr>
          <a:xfrm>
            <a:off x="279197" y="2116950"/>
            <a:ext cx="1738203" cy="40236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ow Positive (Sow+)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pic>
        <p:nvPicPr>
          <p:cNvPr id="110" name="Picture 109">
            <a:extLst>
              <a:ext uri="{FF2B5EF4-FFF2-40B4-BE49-F238E27FC236}">
                <a16:creationId xmlns:a16="http://schemas.microsoft.com/office/drawing/2014/main" id="{CED3B19C-AD5F-D90D-1910-5B573208820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973958" y="-1389"/>
            <a:ext cx="1218041" cy="1054204"/>
          </a:xfrm>
          <a:prstGeom prst="rect">
            <a:avLst/>
          </a:prstGeom>
        </p:spPr>
      </p:pic>
      <p:pic>
        <p:nvPicPr>
          <p:cNvPr id="80" name="Picture 79" descr="Diagram&#10;&#10;Description automatically generated">
            <a:extLst>
              <a:ext uri="{FF2B5EF4-FFF2-40B4-BE49-F238E27FC236}">
                <a16:creationId xmlns:a16="http://schemas.microsoft.com/office/drawing/2014/main" id="{F189CCCE-2726-4FE9-9791-AC0E25CB951E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471" t="4690" r="15972" b="78413"/>
          <a:stretch/>
        </p:blipFill>
        <p:spPr>
          <a:xfrm>
            <a:off x="5513387" y="3438531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grpSp>
        <p:nvGrpSpPr>
          <p:cNvPr id="393" name="Group 392">
            <a:extLst>
              <a:ext uri="{FF2B5EF4-FFF2-40B4-BE49-F238E27FC236}">
                <a16:creationId xmlns:a16="http://schemas.microsoft.com/office/drawing/2014/main" id="{1DC2A775-7F8A-C7BD-C6C1-0D7EF550CD21}"/>
              </a:ext>
            </a:extLst>
          </p:cNvPr>
          <p:cNvGrpSpPr/>
          <p:nvPr/>
        </p:nvGrpSpPr>
        <p:grpSpPr>
          <a:xfrm>
            <a:off x="248694" y="5330037"/>
            <a:ext cx="768663" cy="912391"/>
            <a:chOff x="352476" y="5607096"/>
            <a:chExt cx="619761" cy="735647"/>
          </a:xfrm>
        </p:grpSpPr>
        <p:sp>
          <p:nvSpPr>
            <p:cNvPr id="319" name="object 54">
              <a:extLst>
                <a:ext uri="{FF2B5EF4-FFF2-40B4-BE49-F238E27FC236}">
                  <a16:creationId xmlns:a16="http://schemas.microsoft.com/office/drawing/2014/main" id="{E514F0E0-B278-C065-6BB3-FD8357B8C793}"/>
                </a:ext>
              </a:extLst>
            </p:cNvPr>
            <p:cNvSpPr/>
            <p:nvPr/>
          </p:nvSpPr>
          <p:spPr>
            <a:xfrm>
              <a:off x="497892" y="5868398"/>
              <a:ext cx="474345" cy="474345"/>
            </a:xfrm>
            <a:custGeom>
              <a:avLst/>
              <a:gdLst/>
              <a:ahLst/>
              <a:cxnLst/>
              <a:rect l="l" t="t" r="r" b="b"/>
              <a:pathLst>
                <a:path w="474345" h="474345">
                  <a:moveTo>
                    <a:pt x="267887" y="0"/>
                  </a:moveTo>
                  <a:lnTo>
                    <a:pt x="206224" y="0"/>
                  </a:lnTo>
                  <a:lnTo>
                    <a:pt x="194722" y="2338"/>
                  </a:lnTo>
                  <a:lnTo>
                    <a:pt x="185303" y="8706"/>
                  </a:lnTo>
                  <a:lnTo>
                    <a:pt x="178939" y="18129"/>
                  </a:lnTo>
                  <a:lnTo>
                    <a:pt x="176601" y="29632"/>
                  </a:lnTo>
                  <a:lnTo>
                    <a:pt x="176601" y="176601"/>
                  </a:lnTo>
                  <a:lnTo>
                    <a:pt x="29622" y="176601"/>
                  </a:lnTo>
                  <a:lnTo>
                    <a:pt x="18120" y="178940"/>
                  </a:lnTo>
                  <a:lnTo>
                    <a:pt x="8701" y="185308"/>
                  </a:lnTo>
                  <a:lnTo>
                    <a:pt x="2337" y="194730"/>
                  </a:lnTo>
                  <a:lnTo>
                    <a:pt x="0" y="206234"/>
                  </a:lnTo>
                  <a:lnTo>
                    <a:pt x="0" y="267887"/>
                  </a:lnTo>
                  <a:lnTo>
                    <a:pt x="2337" y="279389"/>
                  </a:lnTo>
                  <a:lnTo>
                    <a:pt x="8701" y="288807"/>
                  </a:lnTo>
                  <a:lnTo>
                    <a:pt x="18120" y="295171"/>
                  </a:lnTo>
                  <a:lnTo>
                    <a:pt x="29622" y="297509"/>
                  </a:lnTo>
                  <a:lnTo>
                    <a:pt x="176601" y="297509"/>
                  </a:lnTo>
                  <a:lnTo>
                    <a:pt x="176601" y="444489"/>
                  </a:lnTo>
                  <a:lnTo>
                    <a:pt x="178939" y="455991"/>
                  </a:lnTo>
                  <a:lnTo>
                    <a:pt x="185303" y="465409"/>
                  </a:lnTo>
                  <a:lnTo>
                    <a:pt x="194722" y="471773"/>
                  </a:lnTo>
                  <a:lnTo>
                    <a:pt x="206224" y="474111"/>
                  </a:lnTo>
                  <a:lnTo>
                    <a:pt x="267887" y="474111"/>
                  </a:lnTo>
                  <a:lnTo>
                    <a:pt x="279389" y="471773"/>
                  </a:lnTo>
                  <a:lnTo>
                    <a:pt x="288807" y="465409"/>
                  </a:lnTo>
                  <a:lnTo>
                    <a:pt x="295171" y="455991"/>
                  </a:lnTo>
                  <a:lnTo>
                    <a:pt x="297509" y="444489"/>
                  </a:lnTo>
                  <a:lnTo>
                    <a:pt x="297509" y="297509"/>
                  </a:lnTo>
                  <a:lnTo>
                    <a:pt x="444489" y="297509"/>
                  </a:lnTo>
                  <a:lnTo>
                    <a:pt x="455991" y="295171"/>
                  </a:lnTo>
                  <a:lnTo>
                    <a:pt x="465409" y="288807"/>
                  </a:lnTo>
                  <a:lnTo>
                    <a:pt x="471773" y="279389"/>
                  </a:lnTo>
                  <a:lnTo>
                    <a:pt x="474111" y="267887"/>
                  </a:lnTo>
                  <a:lnTo>
                    <a:pt x="474111" y="206234"/>
                  </a:lnTo>
                  <a:lnTo>
                    <a:pt x="471773" y="194730"/>
                  </a:lnTo>
                  <a:lnTo>
                    <a:pt x="465409" y="185308"/>
                  </a:lnTo>
                  <a:lnTo>
                    <a:pt x="455991" y="178940"/>
                  </a:lnTo>
                  <a:lnTo>
                    <a:pt x="444489" y="176601"/>
                  </a:lnTo>
                  <a:lnTo>
                    <a:pt x="297509" y="176601"/>
                  </a:lnTo>
                  <a:lnTo>
                    <a:pt x="297509" y="29632"/>
                  </a:lnTo>
                  <a:lnTo>
                    <a:pt x="295171" y="18129"/>
                  </a:lnTo>
                  <a:lnTo>
                    <a:pt x="288807" y="8706"/>
                  </a:lnTo>
                  <a:lnTo>
                    <a:pt x="279389" y="2338"/>
                  </a:lnTo>
                  <a:lnTo>
                    <a:pt x="267887" y="0"/>
                  </a:lnTo>
                  <a:close/>
                </a:path>
              </a:pathLst>
            </a:custGeom>
            <a:solidFill>
              <a:srgbClr val="FFC62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" name="object 56">
              <a:extLst>
                <a:ext uri="{FF2B5EF4-FFF2-40B4-BE49-F238E27FC236}">
                  <a16:creationId xmlns:a16="http://schemas.microsoft.com/office/drawing/2014/main" id="{FC675250-291F-D311-791C-AD7B2C468C6B}"/>
                </a:ext>
              </a:extLst>
            </p:cNvPr>
            <p:cNvSpPr/>
            <p:nvPr/>
          </p:nvSpPr>
          <p:spPr>
            <a:xfrm>
              <a:off x="352476" y="5607096"/>
              <a:ext cx="290830" cy="290830"/>
            </a:xfrm>
            <a:custGeom>
              <a:avLst/>
              <a:gdLst/>
              <a:ahLst/>
              <a:cxnLst/>
              <a:rect l="l" t="t" r="r" b="b"/>
              <a:pathLst>
                <a:path w="290830" h="290829">
                  <a:moveTo>
                    <a:pt x="164152" y="0"/>
                  </a:moveTo>
                  <a:lnTo>
                    <a:pt x="126373" y="0"/>
                  </a:lnTo>
                  <a:lnTo>
                    <a:pt x="119321" y="1433"/>
                  </a:lnTo>
                  <a:lnTo>
                    <a:pt x="113548" y="5336"/>
                  </a:lnTo>
                  <a:lnTo>
                    <a:pt x="109648" y="11109"/>
                  </a:lnTo>
                  <a:lnTo>
                    <a:pt x="108216" y="18156"/>
                  </a:lnTo>
                  <a:lnTo>
                    <a:pt x="108216" y="108216"/>
                  </a:lnTo>
                  <a:lnTo>
                    <a:pt x="18156" y="108216"/>
                  </a:lnTo>
                  <a:lnTo>
                    <a:pt x="11105" y="109650"/>
                  </a:lnTo>
                  <a:lnTo>
                    <a:pt x="5332" y="113552"/>
                  </a:lnTo>
                  <a:lnTo>
                    <a:pt x="1432" y="119326"/>
                  </a:lnTo>
                  <a:lnTo>
                    <a:pt x="0" y="126373"/>
                  </a:lnTo>
                  <a:lnTo>
                    <a:pt x="0" y="164152"/>
                  </a:lnTo>
                  <a:lnTo>
                    <a:pt x="1432" y="171198"/>
                  </a:lnTo>
                  <a:lnTo>
                    <a:pt x="5332" y="176972"/>
                  </a:lnTo>
                  <a:lnTo>
                    <a:pt x="11105" y="180874"/>
                  </a:lnTo>
                  <a:lnTo>
                    <a:pt x="18156" y="182308"/>
                  </a:lnTo>
                  <a:lnTo>
                    <a:pt x="108216" y="182308"/>
                  </a:lnTo>
                  <a:lnTo>
                    <a:pt x="108216" y="272368"/>
                  </a:lnTo>
                  <a:lnTo>
                    <a:pt x="109648" y="279419"/>
                  </a:lnTo>
                  <a:lnTo>
                    <a:pt x="113548" y="285192"/>
                  </a:lnTo>
                  <a:lnTo>
                    <a:pt x="119321" y="289092"/>
                  </a:lnTo>
                  <a:lnTo>
                    <a:pt x="126373" y="290525"/>
                  </a:lnTo>
                  <a:lnTo>
                    <a:pt x="164152" y="290525"/>
                  </a:lnTo>
                  <a:lnTo>
                    <a:pt x="171203" y="289092"/>
                  </a:lnTo>
                  <a:lnTo>
                    <a:pt x="176976" y="285192"/>
                  </a:lnTo>
                  <a:lnTo>
                    <a:pt x="180876" y="279419"/>
                  </a:lnTo>
                  <a:lnTo>
                    <a:pt x="182308" y="272368"/>
                  </a:lnTo>
                  <a:lnTo>
                    <a:pt x="182308" y="182308"/>
                  </a:lnTo>
                  <a:lnTo>
                    <a:pt x="272368" y="182308"/>
                  </a:lnTo>
                  <a:lnTo>
                    <a:pt x="279419" y="180874"/>
                  </a:lnTo>
                  <a:lnTo>
                    <a:pt x="285192" y="176972"/>
                  </a:lnTo>
                  <a:lnTo>
                    <a:pt x="289092" y="171198"/>
                  </a:lnTo>
                  <a:lnTo>
                    <a:pt x="290525" y="164152"/>
                  </a:lnTo>
                  <a:lnTo>
                    <a:pt x="290525" y="126373"/>
                  </a:lnTo>
                  <a:lnTo>
                    <a:pt x="289092" y="119326"/>
                  </a:lnTo>
                  <a:lnTo>
                    <a:pt x="285192" y="113552"/>
                  </a:lnTo>
                  <a:lnTo>
                    <a:pt x="279419" y="109650"/>
                  </a:lnTo>
                  <a:lnTo>
                    <a:pt x="272368" y="108216"/>
                  </a:lnTo>
                  <a:lnTo>
                    <a:pt x="182308" y="108216"/>
                  </a:lnTo>
                  <a:lnTo>
                    <a:pt x="182308" y="18156"/>
                  </a:lnTo>
                  <a:lnTo>
                    <a:pt x="180876" y="11109"/>
                  </a:lnTo>
                  <a:lnTo>
                    <a:pt x="176976" y="5336"/>
                  </a:lnTo>
                  <a:lnTo>
                    <a:pt x="171203" y="1433"/>
                  </a:lnTo>
                  <a:lnTo>
                    <a:pt x="164152" y="0"/>
                  </a:lnTo>
                  <a:close/>
                </a:path>
              </a:pathLst>
            </a:custGeom>
            <a:solidFill>
              <a:srgbClr val="4FD9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8" name="Freeform: Shape 337">
            <a:extLst>
              <a:ext uri="{FF2B5EF4-FFF2-40B4-BE49-F238E27FC236}">
                <a16:creationId xmlns:a16="http://schemas.microsoft.com/office/drawing/2014/main" id="{04C8DF6A-B0EF-9BF1-4CBE-EF7CB273DC91}"/>
              </a:ext>
            </a:extLst>
          </p:cNvPr>
          <p:cNvSpPr/>
          <p:nvPr/>
        </p:nvSpPr>
        <p:spPr>
          <a:xfrm>
            <a:off x="775282" y="549635"/>
            <a:ext cx="302631" cy="302596"/>
          </a:xfrm>
          <a:custGeom>
            <a:avLst/>
            <a:gdLst>
              <a:gd name="connsiteX0" fmla="*/ 0 w 292642"/>
              <a:gd name="connsiteY0" fmla="*/ 165316 h 292608"/>
              <a:gd name="connsiteX1" fmla="*/ 0 w 292642"/>
              <a:gd name="connsiteY1" fmla="*/ 127257 h 292608"/>
              <a:gd name="connsiteX2" fmla="*/ 18279 w 292642"/>
              <a:gd name="connsiteY2" fmla="*/ 108978 h 292608"/>
              <a:gd name="connsiteX3" fmla="*/ 109013 w 292642"/>
              <a:gd name="connsiteY3" fmla="*/ 108978 h 292608"/>
              <a:gd name="connsiteX4" fmla="*/ 109013 w 292642"/>
              <a:gd name="connsiteY4" fmla="*/ 18279 h 292608"/>
              <a:gd name="connsiteX5" fmla="*/ 127292 w 292642"/>
              <a:gd name="connsiteY5" fmla="*/ 0 h 292608"/>
              <a:gd name="connsiteX6" fmla="*/ 165351 w 292642"/>
              <a:gd name="connsiteY6" fmla="*/ 0 h 292608"/>
              <a:gd name="connsiteX7" fmla="*/ 183630 w 292642"/>
              <a:gd name="connsiteY7" fmla="*/ 18279 h 292608"/>
              <a:gd name="connsiteX8" fmla="*/ 183630 w 292642"/>
              <a:gd name="connsiteY8" fmla="*/ 108978 h 292608"/>
              <a:gd name="connsiteX9" fmla="*/ 274364 w 292642"/>
              <a:gd name="connsiteY9" fmla="*/ 108978 h 292608"/>
              <a:gd name="connsiteX10" fmla="*/ 292643 w 292642"/>
              <a:gd name="connsiteY10" fmla="*/ 127257 h 292608"/>
              <a:gd name="connsiteX11" fmla="*/ 292643 w 292642"/>
              <a:gd name="connsiteY11" fmla="*/ 165316 h 292608"/>
              <a:gd name="connsiteX12" fmla="*/ 274364 w 292642"/>
              <a:gd name="connsiteY12" fmla="*/ 183595 h 292608"/>
              <a:gd name="connsiteX13" fmla="*/ 183630 w 292642"/>
              <a:gd name="connsiteY13" fmla="*/ 183595 h 292608"/>
              <a:gd name="connsiteX14" fmla="*/ 183630 w 292642"/>
              <a:gd name="connsiteY14" fmla="*/ 274329 h 292608"/>
              <a:gd name="connsiteX15" fmla="*/ 165351 w 292642"/>
              <a:gd name="connsiteY15" fmla="*/ 292608 h 292608"/>
              <a:gd name="connsiteX16" fmla="*/ 127292 w 292642"/>
              <a:gd name="connsiteY16" fmla="*/ 292608 h 292608"/>
              <a:gd name="connsiteX17" fmla="*/ 109013 w 292642"/>
              <a:gd name="connsiteY17" fmla="*/ 274329 h 292608"/>
              <a:gd name="connsiteX18" fmla="*/ 109013 w 292642"/>
              <a:gd name="connsiteY18" fmla="*/ 183595 h 292608"/>
              <a:gd name="connsiteX19" fmla="*/ 18279 w 292642"/>
              <a:gd name="connsiteY19" fmla="*/ 183595 h 292608"/>
              <a:gd name="connsiteX20" fmla="*/ 0 w 292642"/>
              <a:gd name="connsiteY20" fmla="*/ 165316 h 292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2642" h="292608">
                <a:moveTo>
                  <a:pt x="0" y="165316"/>
                </a:moveTo>
                <a:lnTo>
                  <a:pt x="0" y="127257"/>
                </a:lnTo>
                <a:cubicBezTo>
                  <a:pt x="0" y="117211"/>
                  <a:pt x="8233" y="108978"/>
                  <a:pt x="18279" y="108978"/>
                </a:cubicBezTo>
                <a:lnTo>
                  <a:pt x="109013" y="108978"/>
                </a:lnTo>
                <a:lnTo>
                  <a:pt x="109013" y="18279"/>
                </a:lnTo>
                <a:cubicBezTo>
                  <a:pt x="109013" y="8233"/>
                  <a:pt x="117245" y="0"/>
                  <a:pt x="127292" y="0"/>
                </a:cubicBezTo>
                <a:lnTo>
                  <a:pt x="165351" y="0"/>
                </a:lnTo>
                <a:cubicBezTo>
                  <a:pt x="175397" y="0"/>
                  <a:pt x="183630" y="8233"/>
                  <a:pt x="183630" y="18279"/>
                </a:cubicBezTo>
                <a:lnTo>
                  <a:pt x="183630" y="108978"/>
                </a:lnTo>
                <a:lnTo>
                  <a:pt x="274364" y="108978"/>
                </a:lnTo>
                <a:cubicBezTo>
                  <a:pt x="284410" y="108978"/>
                  <a:pt x="292643" y="117211"/>
                  <a:pt x="292643" y="127257"/>
                </a:cubicBezTo>
                <a:lnTo>
                  <a:pt x="292643" y="165316"/>
                </a:lnTo>
                <a:cubicBezTo>
                  <a:pt x="292643" y="175363"/>
                  <a:pt x="284410" y="183595"/>
                  <a:pt x="274364" y="183595"/>
                </a:cubicBezTo>
                <a:lnTo>
                  <a:pt x="183630" y="183595"/>
                </a:lnTo>
                <a:lnTo>
                  <a:pt x="183630" y="274329"/>
                </a:lnTo>
                <a:cubicBezTo>
                  <a:pt x="183630" y="284375"/>
                  <a:pt x="175397" y="292608"/>
                  <a:pt x="165351" y="292608"/>
                </a:cubicBezTo>
                <a:lnTo>
                  <a:pt x="127292" y="292608"/>
                </a:lnTo>
                <a:cubicBezTo>
                  <a:pt x="117245" y="292608"/>
                  <a:pt x="109013" y="284375"/>
                  <a:pt x="109013" y="274329"/>
                </a:cubicBezTo>
                <a:lnTo>
                  <a:pt x="109013" y="183595"/>
                </a:lnTo>
                <a:lnTo>
                  <a:pt x="18279" y="183595"/>
                </a:lnTo>
                <a:cubicBezTo>
                  <a:pt x="8233" y="183595"/>
                  <a:pt x="0" y="175363"/>
                  <a:pt x="0" y="165316"/>
                </a:cubicBezTo>
              </a:path>
            </a:pathLst>
          </a:custGeom>
          <a:solidFill>
            <a:srgbClr val="8EDC43"/>
          </a:solidFill>
          <a:ln w="34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000"/>
          </a:p>
        </p:txBody>
      </p: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F6EB2F06-BBEC-35A4-EAAF-A52AA0639D0C}"/>
              </a:ext>
            </a:extLst>
          </p:cNvPr>
          <p:cNvGrpSpPr/>
          <p:nvPr/>
        </p:nvGrpSpPr>
        <p:grpSpPr>
          <a:xfrm flipV="1">
            <a:off x="0" y="-1"/>
            <a:ext cx="1204686" cy="1164225"/>
            <a:chOff x="749" y="9888376"/>
            <a:chExt cx="3226768" cy="3118392"/>
          </a:xfrm>
        </p:grpSpPr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EA2BC1C-2F87-F00B-7306-A0C39C416016}"/>
                </a:ext>
              </a:extLst>
            </p:cNvPr>
            <p:cNvSpPr/>
            <p:nvPr/>
          </p:nvSpPr>
          <p:spPr>
            <a:xfrm flipH="1">
              <a:off x="749" y="9888376"/>
              <a:ext cx="1561511" cy="1561511"/>
            </a:xfrm>
            <a:custGeom>
              <a:avLst/>
              <a:gdLst>
                <a:gd name="connsiteX0" fmla="*/ 1561511 w 1561511"/>
                <a:gd name="connsiteY0" fmla="*/ 0 h 1561511"/>
                <a:gd name="connsiteX1" fmla="*/ 0 w 1561511"/>
                <a:gd name="connsiteY1" fmla="*/ 1561511 h 1561511"/>
                <a:gd name="connsiteX2" fmla="*/ 1561511 w 1561511"/>
                <a:gd name="connsiteY2" fmla="*/ 1561511 h 1561511"/>
                <a:gd name="connsiteX3" fmla="*/ 1561511 w 1561511"/>
                <a:gd name="connsiteY3" fmla="*/ 0 h 1561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511" h="1561511">
                  <a:moveTo>
                    <a:pt x="1561511" y="0"/>
                  </a:moveTo>
                  <a:cubicBezTo>
                    <a:pt x="699117" y="0"/>
                    <a:pt x="0" y="699117"/>
                    <a:pt x="0" y="1561511"/>
                  </a:cubicBezTo>
                  <a:lnTo>
                    <a:pt x="1561511" y="1561511"/>
                  </a:lnTo>
                  <a:lnTo>
                    <a:pt x="1561511" y="0"/>
                  </a:lnTo>
                  <a:close/>
                </a:path>
              </a:pathLst>
            </a:custGeom>
            <a:solidFill>
              <a:srgbClr val="8EDC43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E769BA11-B1B9-BC95-9DE0-D375B219D962}"/>
                </a:ext>
              </a:extLst>
            </p:cNvPr>
            <p:cNvSpPr/>
            <p:nvPr/>
          </p:nvSpPr>
          <p:spPr>
            <a:xfrm flipH="1">
              <a:off x="1547710" y="11449887"/>
              <a:ext cx="1679807" cy="1556227"/>
            </a:xfrm>
            <a:custGeom>
              <a:avLst/>
              <a:gdLst>
                <a:gd name="connsiteX0" fmla="*/ 0 w 1679807"/>
                <a:gd name="connsiteY0" fmla="*/ 1556228 h 1556227"/>
                <a:gd name="connsiteX1" fmla="*/ 1679808 w 1679807"/>
                <a:gd name="connsiteY1" fmla="*/ 1556228 h 1556227"/>
                <a:gd name="connsiteX2" fmla="*/ 1679808 w 1679807"/>
                <a:gd name="connsiteY2" fmla="*/ 0 h 1556227"/>
                <a:gd name="connsiteX3" fmla="*/ 0 w 1679807"/>
                <a:gd name="connsiteY3" fmla="*/ 1556228 h 155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9807" h="1556227">
                  <a:moveTo>
                    <a:pt x="0" y="1556228"/>
                  </a:moveTo>
                  <a:lnTo>
                    <a:pt x="1679808" y="1556228"/>
                  </a:lnTo>
                  <a:lnTo>
                    <a:pt x="1679808" y="0"/>
                  </a:lnTo>
                  <a:cubicBezTo>
                    <a:pt x="1613225" y="869922"/>
                    <a:pt x="886755" y="1555199"/>
                    <a:pt x="0" y="1556228"/>
                  </a:cubicBezTo>
                </a:path>
              </a:pathLst>
            </a:custGeom>
            <a:solidFill>
              <a:srgbClr val="4FE2F3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B99F76-66AB-20E5-BA47-384FDD93A991}"/>
                </a:ext>
              </a:extLst>
            </p:cNvPr>
            <p:cNvSpPr/>
            <p:nvPr/>
          </p:nvSpPr>
          <p:spPr>
            <a:xfrm flipH="1">
              <a:off x="749" y="11449886"/>
              <a:ext cx="1561511" cy="1556882"/>
            </a:xfrm>
            <a:custGeom>
              <a:avLst/>
              <a:gdLst>
                <a:gd name="connsiteX0" fmla="*/ 0 w 1561511"/>
                <a:gd name="connsiteY0" fmla="*/ 0 h 1556882"/>
                <a:gd name="connsiteX1" fmla="*/ 1561511 w 1561511"/>
                <a:gd name="connsiteY1" fmla="*/ 0 h 1556882"/>
                <a:gd name="connsiteX2" fmla="*/ 1561511 w 1561511"/>
                <a:gd name="connsiteY2" fmla="*/ 1556882 h 1556882"/>
                <a:gd name="connsiteX3" fmla="*/ 0 w 1561511"/>
                <a:gd name="connsiteY3" fmla="*/ 1556882 h 15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511" h="1556882">
                  <a:moveTo>
                    <a:pt x="0" y="0"/>
                  </a:moveTo>
                  <a:lnTo>
                    <a:pt x="1561511" y="0"/>
                  </a:lnTo>
                  <a:lnTo>
                    <a:pt x="1561511" y="1556882"/>
                  </a:lnTo>
                  <a:lnTo>
                    <a:pt x="0" y="1556882"/>
                  </a:lnTo>
                  <a:close/>
                </a:path>
              </a:pathLst>
            </a:custGeom>
            <a:solidFill>
              <a:srgbClr val="08A755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79" name="Picture 78" descr="Diagram&#10;&#10;Description automatically generated">
            <a:extLst>
              <a:ext uri="{FF2B5EF4-FFF2-40B4-BE49-F238E27FC236}">
                <a16:creationId xmlns:a16="http://schemas.microsoft.com/office/drawing/2014/main" id="{8D59BF6E-06CE-64B8-A30A-AC565EED67E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935" t="44553" r="6507" b="38549"/>
          <a:stretch/>
        </p:blipFill>
        <p:spPr>
          <a:xfrm>
            <a:off x="8878944" y="1118928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81" name="Picture 80" descr="Diagram&#10;&#10;Description automatically generated">
            <a:extLst>
              <a:ext uri="{FF2B5EF4-FFF2-40B4-BE49-F238E27FC236}">
                <a16:creationId xmlns:a16="http://schemas.microsoft.com/office/drawing/2014/main" id="{ACE9DADC-68B2-7C80-A77D-A205538CB6A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640" t="66450" r="36803" b="16652"/>
          <a:stretch/>
        </p:blipFill>
        <p:spPr>
          <a:xfrm>
            <a:off x="2147830" y="1118928"/>
            <a:ext cx="1165225" cy="1158875"/>
          </a:xfrm>
          <a:prstGeom prst="ellipse">
            <a:avLst/>
          </a:prstGeom>
          <a:ln w="6350">
            <a:solidFill>
              <a:srgbClr val="0052DB"/>
            </a:solidFill>
          </a:ln>
        </p:spPr>
      </p:pic>
      <p:pic>
        <p:nvPicPr>
          <p:cNvPr id="78" name="Picture 77" descr="Diagram&#10;&#10;Description automatically generated">
            <a:extLst>
              <a:ext uri="{FF2B5EF4-FFF2-40B4-BE49-F238E27FC236}">
                <a16:creationId xmlns:a16="http://schemas.microsoft.com/office/drawing/2014/main" id="{FC6C63D8-3A34-E597-6F43-244559DBBA4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52" t="6856" r="46568" b="76695"/>
          <a:stretch/>
        </p:blipFill>
        <p:spPr>
          <a:xfrm>
            <a:off x="3386108" y="2852345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82" name="Picture 81" descr="Diagram&#10;&#10;Description automatically generated">
            <a:extLst>
              <a:ext uri="{FF2B5EF4-FFF2-40B4-BE49-F238E27FC236}">
                <a16:creationId xmlns:a16="http://schemas.microsoft.com/office/drawing/2014/main" id="{285283DA-4C4F-5E76-FEDB-E7FBE5C82183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835" t="47039" r="60810" b="36449"/>
          <a:stretch/>
        </p:blipFill>
        <p:spPr>
          <a:xfrm>
            <a:off x="7695970" y="2871016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56" name="Picture 55" descr="Diagram&#10;&#10;Description automatically generated">
            <a:extLst>
              <a:ext uri="{FF2B5EF4-FFF2-40B4-BE49-F238E27FC236}">
                <a16:creationId xmlns:a16="http://schemas.microsoft.com/office/drawing/2014/main" id="{644B56C6-3BCC-8E9E-BD06-5DD477A1F57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4810" y="408439"/>
            <a:ext cx="2433433" cy="24334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EEE7F25-186A-9868-526F-8B9D7C91F9EE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ea typeface="+mj-ea"/>
                <a:cs typeface="+mj-cs"/>
              </a:rPr>
              <a:pPr algn="r"/>
              <a:t>2</a:t>
            </a:fld>
            <a:endParaRPr lang="en-US" sz="700" spc="300">
              <a:solidFill>
                <a:schemeClr val="accent5"/>
              </a:solidFill>
              <a:ea typeface="+mj-ea"/>
              <a:cs typeface="+mj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6772CE7-DDBC-2727-324E-CCB0481B6387}"/>
              </a:ext>
            </a:extLst>
          </p:cNvPr>
          <p:cNvSpPr/>
          <p:nvPr/>
        </p:nvSpPr>
        <p:spPr>
          <a:xfrm>
            <a:off x="11579640" y="5530709"/>
            <a:ext cx="302631" cy="302596"/>
          </a:xfrm>
          <a:custGeom>
            <a:avLst/>
            <a:gdLst>
              <a:gd name="connsiteX0" fmla="*/ 0 w 292642"/>
              <a:gd name="connsiteY0" fmla="*/ 165316 h 292608"/>
              <a:gd name="connsiteX1" fmla="*/ 0 w 292642"/>
              <a:gd name="connsiteY1" fmla="*/ 127257 h 292608"/>
              <a:gd name="connsiteX2" fmla="*/ 18279 w 292642"/>
              <a:gd name="connsiteY2" fmla="*/ 108978 h 292608"/>
              <a:gd name="connsiteX3" fmla="*/ 109013 w 292642"/>
              <a:gd name="connsiteY3" fmla="*/ 108978 h 292608"/>
              <a:gd name="connsiteX4" fmla="*/ 109013 w 292642"/>
              <a:gd name="connsiteY4" fmla="*/ 18279 h 292608"/>
              <a:gd name="connsiteX5" fmla="*/ 127292 w 292642"/>
              <a:gd name="connsiteY5" fmla="*/ 0 h 292608"/>
              <a:gd name="connsiteX6" fmla="*/ 165351 w 292642"/>
              <a:gd name="connsiteY6" fmla="*/ 0 h 292608"/>
              <a:gd name="connsiteX7" fmla="*/ 183630 w 292642"/>
              <a:gd name="connsiteY7" fmla="*/ 18279 h 292608"/>
              <a:gd name="connsiteX8" fmla="*/ 183630 w 292642"/>
              <a:gd name="connsiteY8" fmla="*/ 108978 h 292608"/>
              <a:gd name="connsiteX9" fmla="*/ 274364 w 292642"/>
              <a:gd name="connsiteY9" fmla="*/ 108978 h 292608"/>
              <a:gd name="connsiteX10" fmla="*/ 292643 w 292642"/>
              <a:gd name="connsiteY10" fmla="*/ 127257 h 292608"/>
              <a:gd name="connsiteX11" fmla="*/ 292643 w 292642"/>
              <a:gd name="connsiteY11" fmla="*/ 165316 h 292608"/>
              <a:gd name="connsiteX12" fmla="*/ 274364 w 292642"/>
              <a:gd name="connsiteY12" fmla="*/ 183595 h 292608"/>
              <a:gd name="connsiteX13" fmla="*/ 183630 w 292642"/>
              <a:gd name="connsiteY13" fmla="*/ 183595 h 292608"/>
              <a:gd name="connsiteX14" fmla="*/ 183630 w 292642"/>
              <a:gd name="connsiteY14" fmla="*/ 274329 h 292608"/>
              <a:gd name="connsiteX15" fmla="*/ 165351 w 292642"/>
              <a:gd name="connsiteY15" fmla="*/ 292608 h 292608"/>
              <a:gd name="connsiteX16" fmla="*/ 127292 w 292642"/>
              <a:gd name="connsiteY16" fmla="*/ 292608 h 292608"/>
              <a:gd name="connsiteX17" fmla="*/ 109013 w 292642"/>
              <a:gd name="connsiteY17" fmla="*/ 274329 h 292608"/>
              <a:gd name="connsiteX18" fmla="*/ 109013 w 292642"/>
              <a:gd name="connsiteY18" fmla="*/ 183595 h 292608"/>
              <a:gd name="connsiteX19" fmla="*/ 18279 w 292642"/>
              <a:gd name="connsiteY19" fmla="*/ 183595 h 292608"/>
              <a:gd name="connsiteX20" fmla="*/ 0 w 292642"/>
              <a:gd name="connsiteY20" fmla="*/ 165316 h 292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2642" h="292608">
                <a:moveTo>
                  <a:pt x="0" y="165316"/>
                </a:moveTo>
                <a:lnTo>
                  <a:pt x="0" y="127257"/>
                </a:lnTo>
                <a:cubicBezTo>
                  <a:pt x="0" y="117211"/>
                  <a:pt x="8233" y="108978"/>
                  <a:pt x="18279" y="108978"/>
                </a:cubicBezTo>
                <a:lnTo>
                  <a:pt x="109013" y="108978"/>
                </a:lnTo>
                <a:lnTo>
                  <a:pt x="109013" y="18279"/>
                </a:lnTo>
                <a:cubicBezTo>
                  <a:pt x="109013" y="8233"/>
                  <a:pt x="117245" y="0"/>
                  <a:pt x="127292" y="0"/>
                </a:cubicBezTo>
                <a:lnTo>
                  <a:pt x="165351" y="0"/>
                </a:lnTo>
                <a:cubicBezTo>
                  <a:pt x="175397" y="0"/>
                  <a:pt x="183630" y="8233"/>
                  <a:pt x="183630" y="18279"/>
                </a:cubicBezTo>
                <a:lnTo>
                  <a:pt x="183630" y="108978"/>
                </a:lnTo>
                <a:lnTo>
                  <a:pt x="274364" y="108978"/>
                </a:lnTo>
                <a:cubicBezTo>
                  <a:pt x="284410" y="108978"/>
                  <a:pt x="292643" y="117211"/>
                  <a:pt x="292643" y="127257"/>
                </a:cubicBezTo>
                <a:lnTo>
                  <a:pt x="292643" y="165316"/>
                </a:lnTo>
                <a:cubicBezTo>
                  <a:pt x="292643" y="175363"/>
                  <a:pt x="284410" y="183595"/>
                  <a:pt x="274364" y="183595"/>
                </a:cubicBezTo>
                <a:lnTo>
                  <a:pt x="183630" y="183595"/>
                </a:lnTo>
                <a:lnTo>
                  <a:pt x="183630" y="274329"/>
                </a:lnTo>
                <a:cubicBezTo>
                  <a:pt x="183630" y="284375"/>
                  <a:pt x="175397" y="292608"/>
                  <a:pt x="165351" y="292608"/>
                </a:cubicBezTo>
                <a:lnTo>
                  <a:pt x="127292" y="292608"/>
                </a:lnTo>
                <a:cubicBezTo>
                  <a:pt x="117245" y="292608"/>
                  <a:pt x="109013" y="284375"/>
                  <a:pt x="109013" y="274329"/>
                </a:cubicBezTo>
                <a:lnTo>
                  <a:pt x="109013" y="183595"/>
                </a:lnTo>
                <a:lnTo>
                  <a:pt x="18279" y="183595"/>
                </a:lnTo>
                <a:cubicBezTo>
                  <a:pt x="8233" y="183595"/>
                  <a:pt x="0" y="175363"/>
                  <a:pt x="0" y="165316"/>
                </a:cubicBezTo>
              </a:path>
            </a:pathLst>
          </a:custGeom>
          <a:solidFill>
            <a:srgbClr val="8EDC43"/>
          </a:solidFill>
          <a:ln w="34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0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DE6A71-0A32-158C-944E-D9D0A9B0FAF2}"/>
              </a:ext>
            </a:extLst>
          </p:cNvPr>
          <p:cNvSpPr/>
          <p:nvPr/>
        </p:nvSpPr>
        <p:spPr>
          <a:xfrm>
            <a:off x="8815137" y="3685845"/>
            <a:ext cx="1781176" cy="128367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100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Freeform: Shape 1030">
            <a:extLst>
              <a:ext uri="{FF2B5EF4-FFF2-40B4-BE49-F238E27FC236}">
                <a16:creationId xmlns:a16="http://schemas.microsoft.com/office/drawing/2014/main" id="{7BE746D4-755C-C2A2-B06B-A4E33370C64D}"/>
              </a:ext>
            </a:extLst>
          </p:cNvPr>
          <p:cNvSpPr>
            <a:spLocks/>
          </p:cNvSpPr>
          <p:nvPr/>
        </p:nvSpPr>
        <p:spPr>
          <a:xfrm>
            <a:off x="0" y="110248"/>
            <a:ext cx="11700308" cy="4038181"/>
          </a:xfrm>
          <a:custGeom>
            <a:avLst/>
            <a:gdLst>
              <a:gd name="connsiteX0" fmla="*/ 99578 w 11700308"/>
              <a:gd name="connsiteY0" fmla="*/ 0 h 4038181"/>
              <a:gd name="connsiteX1" fmla="*/ 11175168 w 11700308"/>
              <a:gd name="connsiteY1" fmla="*/ 0 h 4038181"/>
              <a:gd name="connsiteX2" fmla="*/ 11700308 w 11700308"/>
              <a:gd name="connsiteY2" fmla="*/ 525178 h 4038181"/>
              <a:gd name="connsiteX3" fmla="*/ 11175168 w 11700308"/>
              <a:gd name="connsiteY3" fmla="*/ 1050353 h 4038181"/>
              <a:gd name="connsiteX4" fmla="*/ 573925 w 11700308"/>
              <a:gd name="connsiteY4" fmla="*/ 1050353 h 4038181"/>
              <a:gd name="connsiteX5" fmla="*/ 353526 w 11700308"/>
              <a:gd name="connsiteY5" fmla="*/ 1271012 h 4038181"/>
              <a:gd name="connsiteX6" fmla="*/ 353526 w 11700308"/>
              <a:gd name="connsiteY6" fmla="*/ 2118602 h 4038181"/>
              <a:gd name="connsiteX7" fmla="*/ 353526 w 11700308"/>
              <a:gd name="connsiteY7" fmla="*/ 2118603 h 4038181"/>
              <a:gd name="connsiteX8" fmla="*/ 353526 w 11700308"/>
              <a:gd name="connsiteY8" fmla="*/ 2975852 h 4038181"/>
              <a:gd name="connsiteX9" fmla="*/ 353526 w 11700308"/>
              <a:gd name="connsiteY9" fmla="*/ 2975852 h 4038181"/>
              <a:gd name="connsiteX10" fmla="*/ 353526 w 11700308"/>
              <a:gd name="connsiteY10" fmla="*/ 3518957 h 4038181"/>
              <a:gd name="connsiteX11" fmla="*/ 11790 w 11700308"/>
              <a:gd name="connsiteY11" fmla="*/ 4034517 h 4038181"/>
              <a:gd name="connsiteX12" fmla="*/ 0 w 11700308"/>
              <a:gd name="connsiteY12" fmla="*/ 4038181 h 4038181"/>
              <a:gd name="connsiteX13" fmla="*/ 0 w 11700308"/>
              <a:gd name="connsiteY13" fmla="*/ 2659146 h 4038181"/>
              <a:gd name="connsiteX14" fmla="*/ 99578 w 11700308"/>
              <a:gd name="connsiteY14" fmla="*/ 2659146 h 4038181"/>
              <a:gd name="connsiteX15" fmla="*/ 99578 w 11700308"/>
              <a:gd name="connsiteY15" fmla="*/ 2118603 h 4038181"/>
              <a:gd name="connsiteX16" fmla="*/ 99578 w 11700308"/>
              <a:gd name="connsiteY16" fmla="*/ 2118602 h 4038181"/>
              <a:gd name="connsiteX17" fmla="*/ 99578 w 11700308"/>
              <a:gd name="connsiteY17" fmla="*/ 642536 h 4038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1700308" h="4038181">
                <a:moveTo>
                  <a:pt x="99578" y="0"/>
                </a:moveTo>
                <a:lnTo>
                  <a:pt x="11175168" y="0"/>
                </a:lnTo>
                <a:cubicBezTo>
                  <a:pt x="11465148" y="0"/>
                  <a:pt x="11700308" y="235130"/>
                  <a:pt x="11700308" y="525178"/>
                </a:cubicBezTo>
                <a:cubicBezTo>
                  <a:pt x="11700308" y="815223"/>
                  <a:pt x="11465148" y="1050353"/>
                  <a:pt x="11175168" y="1050353"/>
                </a:cubicBezTo>
                <a:lnTo>
                  <a:pt x="573925" y="1050353"/>
                </a:lnTo>
                <a:cubicBezTo>
                  <a:pt x="452203" y="1050353"/>
                  <a:pt x="353526" y="1149147"/>
                  <a:pt x="353526" y="1271012"/>
                </a:cubicBezTo>
                <a:lnTo>
                  <a:pt x="353526" y="2118602"/>
                </a:lnTo>
                <a:lnTo>
                  <a:pt x="353526" y="2118603"/>
                </a:lnTo>
                <a:lnTo>
                  <a:pt x="353526" y="2975852"/>
                </a:lnTo>
                <a:lnTo>
                  <a:pt x="353526" y="2975852"/>
                </a:lnTo>
                <a:lnTo>
                  <a:pt x="353526" y="3518957"/>
                </a:lnTo>
                <a:cubicBezTo>
                  <a:pt x="353526" y="3750725"/>
                  <a:pt x="212614" y="3949583"/>
                  <a:pt x="11790" y="4034517"/>
                </a:cubicBezTo>
                <a:lnTo>
                  <a:pt x="0" y="4038181"/>
                </a:lnTo>
                <a:lnTo>
                  <a:pt x="0" y="2659146"/>
                </a:lnTo>
                <a:lnTo>
                  <a:pt x="99578" y="2659146"/>
                </a:lnTo>
                <a:lnTo>
                  <a:pt x="99578" y="2118603"/>
                </a:lnTo>
                <a:lnTo>
                  <a:pt x="99578" y="2118602"/>
                </a:lnTo>
                <a:lnTo>
                  <a:pt x="99578" y="642536"/>
                </a:lnTo>
                <a:close/>
              </a:path>
            </a:pathLst>
          </a:custGeom>
          <a:solidFill>
            <a:srgbClr val="00C04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Graphic 154">
            <a:extLst>
              <a:ext uri="{FF2B5EF4-FFF2-40B4-BE49-F238E27FC236}">
                <a16:creationId xmlns:a16="http://schemas.microsoft.com/office/drawing/2014/main" id="{313C4CDB-CCEE-D4A7-53EE-DE527B948366}"/>
              </a:ext>
            </a:extLst>
          </p:cNvPr>
          <p:cNvSpPr>
            <a:spLocks/>
          </p:cNvSpPr>
          <p:nvPr/>
        </p:nvSpPr>
        <p:spPr>
          <a:xfrm>
            <a:off x="0" y="0"/>
            <a:ext cx="11799886" cy="4034547"/>
          </a:xfrm>
          <a:custGeom>
            <a:avLst/>
            <a:gdLst>
              <a:gd name="connsiteX0" fmla="*/ 0 w 12192000"/>
              <a:gd name="connsiteY0" fmla="*/ 0 h 4163698"/>
              <a:gd name="connsiteX1" fmla="*/ 11640094 w 12192000"/>
              <a:gd name="connsiteY1" fmla="*/ 0 h 4163698"/>
              <a:gd name="connsiteX2" fmla="*/ 12192000 w 12192000"/>
              <a:gd name="connsiteY2" fmla="*/ 551294 h 4163698"/>
              <a:gd name="connsiteX3" fmla="*/ 11640094 w 12192000"/>
              <a:gd name="connsiteY3" fmla="*/ 1102585 h 4163698"/>
              <a:gd name="connsiteX4" fmla="*/ 498524 w 12192000"/>
              <a:gd name="connsiteY4" fmla="*/ 1102585 h 4163698"/>
              <a:gd name="connsiteX5" fmla="*/ 266891 w 12192000"/>
              <a:gd name="connsiteY5" fmla="*/ 1334217 h 4163698"/>
              <a:gd name="connsiteX6" fmla="*/ 266891 w 12192000"/>
              <a:gd name="connsiteY6" fmla="*/ 3772177 h 4163698"/>
              <a:gd name="connsiteX7" fmla="*/ 8901 w 12192000"/>
              <a:gd name="connsiteY7" fmla="*/ 4160935 h 4163698"/>
              <a:gd name="connsiteX8" fmla="*/ 0 w 12192000"/>
              <a:gd name="connsiteY8" fmla="*/ 4163698 h 4163698"/>
              <a:gd name="connsiteX9" fmla="*/ 0 w 12192000"/>
              <a:gd name="connsiteY9" fmla="*/ 674488 h 4163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4163698">
                <a:moveTo>
                  <a:pt x="0" y="0"/>
                </a:moveTo>
                <a:lnTo>
                  <a:pt x="11640094" y="0"/>
                </a:lnTo>
                <a:cubicBezTo>
                  <a:pt x="11944854" y="0"/>
                  <a:pt x="12192000" y="246823"/>
                  <a:pt x="12192000" y="551294"/>
                </a:cubicBezTo>
                <a:cubicBezTo>
                  <a:pt x="12192000" y="855762"/>
                  <a:pt x="11944854" y="1102585"/>
                  <a:pt x="11640094" y="1102585"/>
                </a:cubicBezTo>
                <a:lnTo>
                  <a:pt x="498524" y="1102585"/>
                </a:lnTo>
                <a:cubicBezTo>
                  <a:pt x="370597" y="1102585"/>
                  <a:pt x="266891" y="1206292"/>
                  <a:pt x="266891" y="1334217"/>
                </a:cubicBezTo>
                <a:lnTo>
                  <a:pt x="266891" y="3772177"/>
                </a:lnTo>
                <a:cubicBezTo>
                  <a:pt x="266891" y="3946942"/>
                  <a:pt x="160511" y="4096890"/>
                  <a:pt x="8901" y="4160935"/>
                </a:cubicBezTo>
                <a:lnTo>
                  <a:pt x="0" y="4163698"/>
                </a:lnTo>
                <a:lnTo>
                  <a:pt x="0" y="674488"/>
                </a:lnTo>
                <a:close/>
              </a:path>
            </a:pathLst>
          </a:custGeom>
          <a:solidFill>
            <a:srgbClr val="133CCF"/>
          </a:solidFill>
          <a:ln>
            <a:noFill/>
          </a:ln>
          <a:effectLst>
            <a:innerShdw blurRad="177800" dist="50800" dir="27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9F16F72-0CF9-53EA-D6AE-4E868A197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F16F72-0CF9-53EA-D6AE-4E868A197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F74A5B6-E133-D784-1956-EEE863625ECB}"/>
              </a:ext>
            </a:extLst>
          </p:cNvPr>
          <p:cNvSpPr>
            <a:spLocks/>
          </p:cNvSpPr>
          <p:nvPr/>
        </p:nvSpPr>
        <p:spPr>
          <a:xfrm>
            <a:off x="457199" y="1266824"/>
            <a:ext cx="11137900" cy="5172075"/>
          </a:xfrm>
          <a:prstGeom prst="roundRect">
            <a:avLst>
              <a:gd name="adj" fmla="val 3410"/>
            </a:avLst>
          </a:prstGeom>
          <a:solidFill>
            <a:schemeClr val="accent5">
              <a:lumMod val="60000"/>
              <a:lumOff val="40000"/>
              <a:alpha val="46000"/>
            </a:schemeClr>
          </a:solidFill>
          <a:ln>
            <a:solidFill>
              <a:schemeClr val="bg1">
                <a:alpha val="4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30">
            <a:extLst>
              <a:ext uri="{FF2B5EF4-FFF2-40B4-BE49-F238E27FC236}">
                <a16:creationId xmlns:a16="http://schemas.microsoft.com/office/drawing/2014/main" id="{2D806CA8-DDAD-8DA9-BD64-5EA947BBF58E}"/>
              </a:ext>
            </a:extLst>
          </p:cNvPr>
          <p:cNvSpPr txBox="1">
            <a:spLocks/>
          </p:cNvSpPr>
          <p:nvPr/>
        </p:nvSpPr>
        <p:spPr>
          <a:xfrm>
            <a:off x="1770795" y="233798"/>
            <a:ext cx="10337800" cy="622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33CC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WE CONTINUE TO EVOLVE OUR SUSTAINABL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CUP PORTFOLIO</a:t>
            </a:r>
            <a:endParaRPr kumimoji="0" lang="en-GB" sz="2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1123" name="Group 1122">
            <a:extLst>
              <a:ext uri="{FF2B5EF4-FFF2-40B4-BE49-F238E27FC236}">
                <a16:creationId xmlns:a16="http://schemas.microsoft.com/office/drawing/2014/main" id="{B7E48688-2573-4C67-4E81-F3E3B906B61A}"/>
              </a:ext>
            </a:extLst>
          </p:cNvPr>
          <p:cNvGrpSpPr/>
          <p:nvPr/>
        </p:nvGrpSpPr>
        <p:grpSpPr>
          <a:xfrm flipV="1">
            <a:off x="0" y="-1"/>
            <a:ext cx="643928" cy="622301"/>
            <a:chOff x="749" y="9888376"/>
            <a:chExt cx="3226768" cy="3118392"/>
          </a:xfrm>
        </p:grpSpPr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18C09A3F-BE16-EC94-1C0D-FA659546C32A}"/>
                </a:ext>
              </a:extLst>
            </p:cNvPr>
            <p:cNvSpPr/>
            <p:nvPr/>
          </p:nvSpPr>
          <p:spPr>
            <a:xfrm flipH="1">
              <a:off x="749" y="9888376"/>
              <a:ext cx="1561511" cy="1561511"/>
            </a:xfrm>
            <a:custGeom>
              <a:avLst/>
              <a:gdLst>
                <a:gd name="connsiteX0" fmla="*/ 1561511 w 1561511"/>
                <a:gd name="connsiteY0" fmla="*/ 0 h 1561511"/>
                <a:gd name="connsiteX1" fmla="*/ 0 w 1561511"/>
                <a:gd name="connsiteY1" fmla="*/ 1561511 h 1561511"/>
                <a:gd name="connsiteX2" fmla="*/ 1561511 w 1561511"/>
                <a:gd name="connsiteY2" fmla="*/ 1561511 h 1561511"/>
                <a:gd name="connsiteX3" fmla="*/ 1561511 w 1561511"/>
                <a:gd name="connsiteY3" fmla="*/ 0 h 1561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511" h="1561511">
                  <a:moveTo>
                    <a:pt x="1561511" y="0"/>
                  </a:moveTo>
                  <a:cubicBezTo>
                    <a:pt x="699117" y="0"/>
                    <a:pt x="0" y="699117"/>
                    <a:pt x="0" y="1561511"/>
                  </a:cubicBezTo>
                  <a:lnTo>
                    <a:pt x="1561511" y="1561511"/>
                  </a:lnTo>
                  <a:lnTo>
                    <a:pt x="1561511" y="0"/>
                  </a:lnTo>
                  <a:close/>
                </a:path>
              </a:pathLst>
            </a:custGeom>
            <a:solidFill>
              <a:srgbClr val="8EDC43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A6303CC9-0FFF-88CD-E7D2-D62EE1BC9BAE}"/>
                </a:ext>
              </a:extLst>
            </p:cNvPr>
            <p:cNvSpPr/>
            <p:nvPr/>
          </p:nvSpPr>
          <p:spPr>
            <a:xfrm flipH="1">
              <a:off x="1547710" y="11449887"/>
              <a:ext cx="1679807" cy="1556227"/>
            </a:xfrm>
            <a:custGeom>
              <a:avLst/>
              <a:gdLst>
                <a:gd name="connsiteX0" fmla="*/ 0 w 1679807"/>
                <a:gd name="connsiteY0" fmla="*/ 1556228 h 1556227"/>
                <a:gd name="connsiteX1" fmla="*/ 1679808 w 1679807"/>
                <a:gd name="connsiteY1" fmla="*/ 1556228 h 1556227"/>
                <a:gd name="connsiteX2" fmla="*/ 1679808 w 1679807"/>
                <a:gd name="connsiteY2" fmla="*/ 0 h 1556227"/>
                <a:gd name="connsiteX3" fmla="*/ 0 w 1679807"/>
                <a:gd name="connsiteY3" fmla="*/ 1556228 h 155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9807" h="1556227">
                  <a:moveTo>
                    <a:pt x="0" y="1556228"/>
                  </a:moveTo>
                  <a:lnTo>
                    <a:pt x="1679808" y="1556228"/>
                  </a:lnTo>
                  <a:lnTo>
                    <a:pt x="1679808" y="0"/>
                  </a:lnTo>
                  <a:cubicBezTo>
                    <a:pt x="1613225" y="869922"/>
                    <a:pt x="886755" y="1555199"/>
                    <a:pt x="0" y="1556228"/>
                  </a:cubicBezTo>
                </a:path>
              </a:pathLst>
            </a:custGeom>
            <a:solidFill>
              <a:srgbClr val="4FE2F3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9650FFA2-AF65-8347-0673-AE5DAC7BAF98}"/>
                </a:ext>
              </a:extLst>
            </p:cNvPr>
            <p:cNvSpPr/>
            <p:nvPr/>
          </p:nvSpPr>
          <p:spPr>
            <a:xfrm flipH="1">
              <a:off x="749" y="11449886"/>
              <a:ext cx="1561511" cy="1556882"/>
            </a:xfrm>
            <a:custGeom>
              <a:avLst/>
              <a:gdLst>
                <a:gd name="connsiteX0" fmla="*/ 0 w 1561511"/>
                <a:gd name="connsiteY0" fmla="*/ 0 h 1556882"/>
                <a:gd name="connsiteX1" fmla="*/ 1561511 w 1561511"/>
                <a:gd name="connsiteY1" fmla="*/ 0 h 1556882"/>
                <a:gd name="connsiteX2" fmla="*/ 1561511 w 1561511"/>
                <a:gd name="connsiteY2" fmla="*/ 1556882 h 1556882"/>
                <a:gd name="connsiteX3" fmla="*/ 0 w 1561511"/>
                <a:gd name="connsiteY3" fmla="*/ 1556882 h 15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511" h="1556882">
                  <a:moveTo>
                    <a:pt x="0" y="0"/>
                  </a:moveTo>
                  <a:lnTo>
                    <a:pt x="1561511" y="0"/>
                  </a:lnTo>
                  <a:lnTo>
                    <a:pt x="1561511" y="1556882"/>
                  </a:lnTo>
                  <a:lnTo>
                    <a:pt x="0" y="1556882"/>
                  </a:lnTo>
                  <a:close/>
                </a:path>
              </a:pathLst>
            </a:custGeom>
            <a:solidFill>
              <a:srgbClr val="08A755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33" name="Group 1132">
            <a:extLst>
              <a:ext uri="{FF2B5EF4-FFF2-40B4-BE49-F238E27FC236}">
                <a16:creationId xmlns:a16="http://schemas.microsoft.com/office/drawing/2014/main" id="{8DCBDDC5-F318-296B-5E97-AC8E08AECE04}"/>
              </a:ext>
            </a:extLst>
          </p:cNvPr>
          <p:cNvGrpSpPr/>
          <p:nvPr/>
        </p:nvGrpSpPr>
        <p:grpSpPr>
          <a:xfrm flipH="1">
            <a:off x="11503551" y="314263"/>
            <a:ext cx="490943" cy="497085"/>
            <a:chOff x="10732103" y="6210946"/>
            <a:chExt cx="1006277" cy="1018869"/>
          </a:xfrm>
        </p:grpSpPr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07F3760C-E5ED-2482-DD02-F78483316030}"/>
                </a:ext>
              </a:extLst>
            </p:cNvPr>
            <p:cNvSpPr/>
            <p:nvPr/>
          </p:nvSpPr>
          <p:spPr>
            <a:xfrm>
              <a:off x="10738446" y="6777435"/>
              <a:ext cx="368617" cy="452380"/>
            </a:xfrm>
            <a:custGeom>
              <a:avLst/>
              <a:gdLst>
                <a:gd name="connsiteX0" fmla="*/ 368618 w 368617"/>
                <a:gd name="connsiteY0" fmla="*/ 257842 h 452380"/>
                <a:gd name="connsiteX1" fmla="*/ 367951 w 368617"/>
                <a:gd name="connsiteY1" fmla="*/ 245459 h 452380"/>
                <a:gd name="connsiteX2" fmla="*/ 366808 w 368617"/>
                <a:gd name="connsiteY2" fmla="*/ 241745 h 452380"/>
                <a:gd name="connsiteX3" fmla="*/ 365284 w 368617"/>
                <a:gd name="connsiteY3" fmla="*/ 238601 h 452380"/>
                <a:gd name="connsiteX4" fmla="*/ 362426 w 368617"/>
                <a:gd name="connsiteY4" fmla="*/ 228124 h 452380"/>
                <a:gd name="connsiteX5" fmla="*/ 353854 w 368617"/>
                <a:gd name="connsiteY5" fmla="*/ 222028 h 452380"/>
                <a:gd name="connsiteX6" fmla="*/ 339281 w 368617"/>
                <a:gd name="connsiteY6" fmla="*/ 213360 h 452380"/>
                <a:gd name="connsiteX7" fmla="*/ 332708 w 368617"/>
                <a:gd name="connsiteY7" fmla="*/ 210979 h 452380"/>
                <a:gd name="connsiteX8" fmla="*/ 324517 w 368617"/>
                <a:gd name="connsiteY8" fmla="*/ 208312 h 452380"/>
                <a:gd name="connsiteX9" fmla="*/ 323183 w 368617"/>
                <a:gd name="connsiteY9" fmla="*/ 206121 h 452380"/>
                <a:gd name="connsiteX10" fmla="*/ 318707 w 368617"/>
                <a:gd name="connsiteY10" fmla="*/ 205073 h 452380"/>
                <a:gd name="connsiteX11" fmla="*/ 309944 w 368617"/>
                <a:gd name="connsiteY11" fmla="*/ 202502 h 452380"/>
                <a:gd name="connsiteX12" fmla="*/ 308800 w 368617"/>
                <a:gd name="connsiteY12" fmla="*/ 202692 h 452380"/>
                <a:gd name="connsiteX13" fmla="*/ 304705 w 368617"/>
                <a:gd name="connsiteY13" fmla="*/ 203930 h 452380"/>
                <a:gd name="connsiteX14" fmla="*/ 303086 w 368617"/>
                <a:gd name="connsiteY14" fmla="*/ 202787 h 452380"/>
                <a:gd name="connsiteX15" fmla="*/ 297370 w 368617"/>
                <a:gd name="connsiteY15" fmla="*/ 199358 h 452380"/>
                <a:gd name="connsiteX16" fmla="*/ 289274 w 368617"/>
                <a:gd name="connsiteY16" fmla="*/ 197644 h 452380"/>
                <a:gd name="connsiteX17" fmla="*/ 282797 w 368617"/>
                <a:gd name="connsiteY17" fmla="*/ 197644 h 452380"/>
                <a:gd name="connsiteX18" fmla="*/ 278701 w 368617"/>
                <a:gd name="connsiteY18" fmla="*/ 195929 h 452380"/>
                <a:gd name="connsiteX19" fmla="*/ 277940 w 368617"/>
                <a:gd name="connsiteY19" fmla="*/ 200692 h 452380"/>
                <a:gd name="connsiteX20" fmla="*/ 275558 w 368617"/>
                <a:gd name="connsiteY20" fmla="*/ 195453 h 452380"/>
                <a:gd name="connsiteX21" fmla="*/ 272606 w 368617"/>
                <a:gd name="connsiteY21" fmla="*/ 198025 h 452380"/>
                <a:gd name="connsiteX22" fmla="*/ 260223 w 368617"/>
                <a:gd name="connsiteY22" fmla="*/ 197453 h 452380"/>
                <a:gd name="connsiteX23" fmla="*/ 249555 w 368617"/>
                <a:gd name="connsiteY23" fmla="*/ 197072 h 452380"/>
                <a:gd name="connsiteX24" fmla="*/ 238411 w 368617"/>
                <a:gd name="connsiteY24" fmla="*/ 199263 h 452380"/>
                <a:gd name="connsiteX25" fmla="*/ 238316 w 368617"/>
                <a:gd name="connsiteY25" fmla="*/ 198787 h 452380"/>
                <a:gd name="connsiteX26" fmla="*/ 236982 w 368617"/>
                <a:gd name="connsiteY26" fmla="*/ 195548 h 452380"/>
                <a:gd name="connsiteX27" fmla="*/ 237744 w 368617"/>
                <a:gd name="connsiteY27" fmla="*/ 192596 h 452380"/>
                <a:gd name="connsiteX28" fmla="*/ 248031 w 368617"/>
                <a:gd name="connsiteY28" fmla="*/ 178498 h 452380"/>
                <a:gd name="connsiteX29" fmla="*/ 259175 w 368617"/>
                <a:gd name="connsiteY29" fmla="*/ 160782 h 452380"/>
                <a:gd name="connsiteX30" fmla="*/ 260699 w 368617"/>
                <a:gd name="connsiteY30" fmla="*/ 159829 h 452380"/>
                <a:gd name="connsiteX31" fmla="*/ 262604 w 368617"/>
                <a:gd name="connsiteY31" fmla="*/ 157829 h 452380"/>
                <a:gd name="connsiteX32" fmla="*/ 265747 w 368617"/>
                <a:gd name="connsiteY32" fmla="*/ 153734 h 452380"/>
                <a:gd name="connsiteX33" fmla="*/ 270986 w 368617"/>
                <a:gd name="connsiteY33" fmla="*/ 147542 h 452380"/>
                <a:gd name="connsiteX34" fmla="*/ 274320 w 368617"/>
                <a:gd name="connsiteY34" fmla="*/ 143066 h 452380"/>
                <a:gd name="connsiteX35" fmla="*/ 276416 w 368617"/>
                <a:gd name="connsiteY35" fmla="*/ 136398 h 452380"/>
                <a:gd name="connsiteX36" fmla="*/ 277654 w 368617"/>
                <a:gd name="connsiteY36" fmla="*/ 134207 h 452380"/>
                <a:gd name="connsiteX37" fmla="*/ 287084 w 368617"/>
                <a:gd name="connsiteY37" fmla="*/ 125349 h 452380"/>
                <a:gd name="connsiteX38" fmla="*/ 292322 w 368617"/>
                <a:gd name="connsiteY38" fmla="*/ 114491 h 452380"/>
                <a:gd name="connsiteX39" fmla="*/ 294418 w 368617"/>
                <a:gd name="connsiteY39" fmla="*/ 112681 h 452380"/>
                <a:gd name="connsiteX40" fmla="*/ 300133 w 368617"/>
                <a:gd name="connsiteY40" fmla="*/ 102108 h 452380"/>
                <a:gd name="connsiteX41" fmla="*/ 300895 w 368617"/>
                <a:gd name="connsiteY41" fmla="*/ 100870 h 452380"/>
                <a:gd name="connsiteX42" fmla="*/ 307372 w 368617"/>
                <a:gd name="connsiteY42" fmla="*/ 90488 h 452380"/>
                <a:gd name="connsiteX43" fmla="*/ 315373 w 368617"/>
                <a:gd name="connsiteY43" fmla="*/ 72676 h 452380"/>
                <a:gd name="connsiteX44" fmla="*/ 321564 w 368617"/>
                <a:gd name="connsiteY44" fmla="*/ 32480 h 452380"/>
                <a:gd name="connsiteX45" fmla="*/ 315182 w 368617"/>
                <a:gd name="connsiteY45" fmla="*/ 22003 h 452380"/>
                <a:gd name="connsiteX46" fmla="*/ 301371 w 368617"/>
                <a:gd name="connsiteY46" fmla="*/ 18193 h 452380"/>
                <a:gd name="connsiteX47" fmla="*/ 300799 w 368617"/>
                <a:gd name="connsiteY47" fmla="*/ 15907 h 452380"/>
                <a:gd name="connsiteX48" fmla="*/ 293751 w 368617"/>
                <a:gd name="connsiteY48" fmla="*/ 21527 h 452380"/>
                <a:gd name="connsiteX49" fmla="*/ 287465 w 368617"/>
                <a:gd name="connsiteY49" fmla="*/ 26860 h 452380"/>
                <a:gd name="connsiteX50" fmla="*/ 276606 w 368617"/>
                <a:gd name="connsiteY50" fmla="*/ 36671 h 452380"/>
                <a:gd name="connsiteX51" fmla="*/ 270796 w 368617"/>
                <a:gd name="connsiteY51" fmla="*/ 38005 h 452380"/>
                <a:gd name="connsiteX52" fmla="*/ 269367 w 368617"/>
                <a:gd name="connsiteY52" fmla="*/ 39148 h 452380"/>
                <a:gd name="connsiteX53" fmla="*/ 268129 w 368617"/>
                <a:gd name="connsiteY53" fmla="*/ 41815 h 452380"/>
                <a:gd name="connsiteX54" fmla="*/ 256794 w 368617"/>
                <a:gd name="connsiteY54" fmla="*/ 52673 h 452380"/>
                <a:gd name="connsiteX55" fmla="*/ 241173 w 368617"/>
                <a:gd name="connsiteY55" fmla="*/ 69056 h 452380"/>
                <a:gd name="connsiteX56" fmla="*/ 234696 w 368617"/>
                <a:gd name="connsiteY56" fmla="*/ 76010 h 452380"/>
                <a:gd name="connsiteX57" fmla="*/ 233934 w 368617"/>
                <a:gd name="connsiteY57" fmla="*/ 76581 h 452380"/>
                <a:gd name="connsiteX58" fmla="*/ 227838 w 368617"/>
                <a:gd name="connsiteY58" fmla="*/ 82010 h 452380"/>
                <a:gd name="connsiteX59" fmla="*/ 212408 w 368617"/>
                <a:gd name="connsiteY59" fmla="*/ 101346 h 452380"/>
                <a:gd name="connsiteX60" fmla="*/ 204216 w 368617"/>
                <a:gd name="connsiteY60" fmla="*/ 110109 h 452380"/>
                <a:gd name="connsiteX61" fmla="*/ 190976 w 368617"/>
                <a:gd name="connsiteY61" fmla="*/ 125254 h 452380"/>
                <a:gd name="connsiteX62" fmla="*/ 184975 w 368617"/>
                <a:gd name="connsiteY62" fmla="*/ 129254 h 452380"/>
                <a:gd name="connsiteX63" fmla="*/ 181451 w 368617"/>
                <a:gd name="connsiteY63" fmla="*/ 125158 h 452380"/>
                <a:gd name="connsiteX64" fmla="*/ 180499 w 368617"/>
                <a:gd name="connsiteY64" fmla="*/ 123349 h 452380"/>
                <a:gd name="connsiteX65" fmla="*/ 165068 w 368617"/>
                <a:gd name="connsiteY65" fmla="*/ 94393 h 452380"/>
                <a:gd name="connsiteX66" fmla="*/ 161925 w 368617"/>
                <a:gd name="connsiteY66" fmla="*/ 89725 h 452380"/>
                <a:gd name="connsiteX67" fmla="*/ 153162 w 368617"/>
                <a:gd name="connsiteY67" fmla="*/ 75819 h 452380"/>
                <a:gd name="connsiteX68" fmla="*/ 153734 w 368617"/>
                <a:gd name="connsiteY68" fmla="*/ 74962 h 452380"/>
                <a:gd name="connsiteX69" fmla="*/ 152876 w 368617"/>
                <a:gd name="connsiteY69" fmla="*/ 72771 h 452380"/>
                <a:gd name="connsiteX70" fmla="*/ 145637 w 368617"/>
                <a:gd name="connsiteY70" fmla="*/ 62484 h 452380"/>
                <a:gd name="connsiteX71" fmla="*/ 141161 w 368617"/>
                <a:gd name="connsiteY71" fmla="*/ 53531 h 452380"/>
                <a:gd name="connsiteX72" fmla="*/ 132016 w 368617"/>
                <a:gd name="connsiteY72" fmla="*/ 35719 h 452380"/>
                <a:gd name="connsiteX73" fmla="*/ 127921 w 368617"/>
                <a:gd name="connsiteY73" fmla="*/ 26194 h 452380"/>
                <a:gd name="connsiteX74" fmla="*/ 127064 w 368617"/>
                <a:gd name="connsiteY74" fmla="*/ 22384 h 452380"/>
                <a:gd name="connsiteX75" fmla="*/ 119729 w 368617"/>
                <a:gd name="connsiteY75" fmla="*/ 4286 h 452380"/>
                <a:gd name="connsiteX76" fmla="*/ 117824 w 368617"/>
                <a:gd name="connsiteY76" fmla="*/ 0 h 452380"/>
                <a:gd name="connsiteX77" fmla="*/ 113062 w 368617"/>
                <a:gd name="connsiteY77" fmla="*/ 2477 h 452380"/>
                <a:gd name="connsiteX78" fmla="*/ 105061 w 368617"/>
                <a:gd name="connsiteY78" fmla="*/ 15811 h 452380"/>
                <a:gd name="connsiteX79" fmla="*/ 102108 w 368617"/>
                <a:gd name="connsiteY79" fmla="*/ 20383 h 452380"/>
                <a:gd name="connsiteX80" fmla="*/ 97726 w 368617"/>
                <a:gd name="connsiteY80" fmla="*/ 26765 h 452380"/>
                <a:gd name="connsiteX81" fmla="*/ 95345 w 368617"/>
                <a:gd name="connsiteY81" fmla="*/ 37433 h 452380"/>
                <a:gd name="connsiteX82" fmla="*/ 100013 w 368617"/>
                <a:gd name="connsiteY82" fmla="*/ 53340 h 452380"/>
                <a:gd name="connsiteX83" fmla="*/ 102299 w 368617"/>
                <a:gd name="connsiteY83" fmla="*/ 58293 h 452380"/>
                <a:gd name="connsiteX84" fmla="*/ 103918 w 368617"/>
                <a:gd name="connsiteY84" fmla="*/ 60008 h 452380"/>
                <a:gd name="connsiteX85" fmla="*/ 105156 w 368617"/>
                <a:gd name="connsiteY85" fmla="*/ 72866 h 452380"/>
                <a:gd name="connsiteX86" fmla="*/ 107251 w 368617"/>
                <a:gd name="connsiteY86" fmla="*/ 80581 h 452380"/>
                <a:gd name="connsiteX87" fmla="*/ 108299 w 368617"/>
                <a:gd name="connsiteY87" fmla="*/ 83820 h 452380"/>
                <a:gd name="connsiteX88" fmla="*/ 110014 w 368617"/>
                <a:gd name="connsiteY88" fmla="*/ 101156 h 452380"/>
                <a:gd name="connsiteX89" fmla="*/ 112776 w 368617"/>
                <a:gd name="connsiteY89" fmla="*/ 114586 h 452380"/>
                <a:gd name="connsiteX90" fmla="*/ 118872 w 368617"/>
                <a:gd name="connsiteY90" fmla="*/ 142780 h 452380"/>
                <a:gd name="connsiteX91" fmla="*/ 123444 w 368617"/>
                <a:gd name="connsiteY91" fmla="*/ 160401 h 452380"/>
                <a:gd name="connsiteX92" fmla="*/ 128492 w 368617"/>
                <a:gd name="connsiteY92" fmla="*/ 178308 h 452380"/>
                <a:gd name="connsiteX93" fmla="*/ 128492 w 368617"/>
                <a:gd name="connsiteY93" fmla="*/ 182594 h 452380"/>
                <a:gd name="connsiteX94" fmla="*/ 124587 w 368617"/>
                <a:gd name="connsiteY94" fmla="*/ 183166 h 452380"/>
                <a:gd name="connsiteX95" fmla="*/ 115633 w 368617"/>
                <a:gd name="connsiteY95" fmla="*/ 179261 h 452380"/>
                <a:gd name="connsiteX96" fmla="*/ 110204 w 368617"/>
                <a:gd name="connsiteY96" fmla="*/ 175641 h 452380"/>
                <a:gd name="connsiteX97" fmla="*/ 99251 w 368617"/>
                <a:gd name="connsiteY97" fmla="*/ 171641 h 452380"/>
                <a:gd name="connsiteX98" fmla="*/ 89726 w 368617"/>
                <a:gd name="connsiteY98" fmla="*/ 169926 h 452380"/>
                <a:gd name="connsiteX99" fmla="*/ 88582 w 368617"/>
                <a:gd name="connsiteY99" fmla="*/ 170879 h 452380"/>
                <a:gd name="connsiteX100" fmla="*/ 88011 w 368617"/>
                <a:gd name="connsiteY100" fmla="*/ 168497 h 452380"/>
                <a:gd name="connsiteX101" fmla="*/ 87535 w 368617"/>
                <a:gd name="connsiteY101" fmla="*/ 171641 h 452380"/>
                <a:gd name="connsiteX102" fmla="*/ 79915 w 368617"/>
                <a:gd name="connsiteY102" fmla="*/ 169164 h 452380"/>
                <a:gd name="connsiteX103" fmla="*/ 66675 w 368617"/>
                <a:gd name="connsiteY103" fmla="*/ 166306 h 452380"/>
                <a:gd name="connsiteX104" fmla="*/ 64579 w 368617"/>
                <a:gd name="connsiteY104" fmla="*/ 165354 h 452380"/>
                <a:gd name="connsiteX105" fmla="*/ 49339 w 368617"/>
                <a:gd name="connsiteY105" fmla="*/ 167164 h 452380"/>
                <a:gd name="connsiteX106" fmla="*/ 48863 w 368617"/>
                <a:gd name="connsiteY106" fmla="*/ 167069 h 452380"/>
                <a:gd name="connsiteX107" fmla="*/ 34576 w 368617"/>
                <a:gd name="connsiteY107" fmla="*/ 166402 h 452380"/>
                <a:gd name="connsiteX108" fmla="*/ 28289 w 368617"/>
                <a:gd name="connsiteY108" fmla="*/ 168402 h 452380"/>
                <a:gd name="connsiteX109" fmla="*/ 21431 w 368617"/>
                <a:gd name="connsiteY109" fmla="*/ 173450 h 452380"/>
                <a:gd name="connsiteX110" fmla="*/ 18097 w 368617"/>
                <a:gd name="connsiteY110" fmla="*/ 171260 h 452380"/>
                <a:gd name="connsiteX111" fmla="*/ 11716 w 368617"/>
                <a:gd name="connsiteY111" fmla="*/ 173927 h 452380"/>
                <a:gd name="connsiteX112" fmla="*/ 9430 w 368617"/>
                <a:gd name="connsiteY112" fmla="*/ 178022 h 452380"/>
                <a:gd name="connsiteX113" fmla="*/ 6953 w 368617"/>
                <a:gd name="connsiteY113" fmla="*/ 186404 h 452380"/>
                <a:gd name="connsiteX114" fmla="*/ 7239 w 368617"/>
                <a:gd name="connsiteY114" fmla="*/ 190310 h 452380"/>
                <a:gd name="connsiteX115" fmla="*/ 1143 w 368617"/>
                <a:gd name="connsiteY115" fmla="*/ 203264 h 452380"/>
                <a:gd name="connsiteX116" fmla="*/ 0 w 368617"/>
                <a:gd name="connsiteY116" fmla="*/ 216789 h 452380"/>
                <a:gd name="connsiteX117" fmla="*/ 571 w 368617"/>
                <a:gd name="connsiteY117" fmla="*/ 217646 h 452380"/>
                <a:gd name="connsiteX118" fmla="*/ 10001 w 368617"/>
                <a:gd name="connsiteY118" fmla="*/ 221742 h 452380"/>
                <a:gd name="connsiteX119" fmla="*/ 27718 w 368617"/>
                <a:gd name="connsiteY119" fmla="*/ 227743 h 452380"/>
                <a:gd name="connsiteX120" fmla="*/ 51054 w 368617"/>
                <a:gd name="connsiteY120" fmla="*/ 236982 h 452380"/>
                <a:gd name="connsiteX121" fmla="*/ 52959 w 368617"/>
                <a:gd name="connsiteY121" fmla="*/ 236792 h 452380"/>
                <a:gd name="connsiteX122" fmla="*/ 60293 w 368617"/>
                <a:gd name="connsiteY122" fmla="*/ 236220 h 452380"/>
                <a:gd name="connsiteX123" fmla="*/ 65818 w 368617"/>
                <a:gd name="connsiteY123" fmla="*/ 237649 h 452380"/>
                <a:gd name="connsiteX124" fmla="*/ 79915 w 368617"/>
                <a:gd name="connsiteY124" fmla="*/ 239363 h 452380"/>
                <a:gd name="connsiteX125" fmla="*/ 97060 w 368617"/>
                <a:gd name="connsiteY125" fmla="*/ 240030 h 452380"/>
                <a:gd name="connsiteX126" fmla="*/ 104489 w 368617"/>
                <a:gd name="connsiteY126" fmla="*/ 240030 h 452380"/>
                <a:gd name="connsiteX127" fmla="*/ 110871 w 368617"/>
                <a:gd name="connsiteY127" fmla="*/ 239744 h 452380"/>
                <a:gd name="connsiteX128" fmla="*/ 116205 w 368617"/>
                <a:gd name="connsiteY128" fmla="*/ 242125 h 452380"/>
                <a:gd name="connsiteX129" fmla="*/ 120491 w 368617"/>
                <a:gd name="connsiteY129" fmla="*/ 243078 h 452380"/>
                <a:gd name="connsiteX130" fmla="*/ 123634 w 368617"/>
                <a:gd name="connsiteY130" fmla="*/ 244412 h 452380"/>
                <a:gd name="connsiteX131" fmla="*/ 133255 w 368617"/>
                <a:gd name="connsiteY131" fmla="*/ 244412 h 452380"/>
                <a:gd name="connsiteX132" fmla="*/ 128492 w 368617"/>
                <a:gd name="connsiteY132" fmla="*/ 247745 h 452380"/>
                <a:gd name="connsiteX133" fmla="*/ 121444 w 368617"/>
                <a:gd name="connsiteY133" fmla="*/ 257270 h 452380"/>
                <a:gd name="connsiteX134" fmla="*/ 112966 w 368617"/>
                <a:gd name="connsiteY134" fmla="*/ 271082 h 452380"/>
                <a:gd name="connsiteX135" fmla="*/ 105156 w 368617"/>
                <a:gd name="connsiteY135" fmla="*/ 280702 h 452380"/>
                <a:gd name="connsiteX136" fmla="*/ 96202 w 368617"/>
                <a:gd name="connsiteY136" fmla="*/ 289465 h 452380"/>
                <a:gd name="connsiteX137" fmla="*/ 86582 w 368617"/>
                <a:gd name="connsiteY137" fmla="*/ 303371 h 452380"/>
                <a:gd name="connsiteX138" fmla="*/ 81629 w 368617"/>
                <a:gd name="connsiteY138" fmla="*/ 309658 h 452380"/>
                <a:gd name="connsiteX139" fmla="*/ 74104 w 368617"/>
                <a:gd name="connsiteY139" fmla="*/ 317468 h 452380"/>
                <a:gd name="connsiteX140" fmla="*/ 72295 w 368617"/>
                <a:gd name="connsiteY140" fmla="*/ 319088 h 452380"/>
                <a:gd name="connsiteX141" fmla="*/ 64865 w 368617"/>
                <a:gd name="connsiteY141" fmla="*/ 327184 h 452380"/>
                <a:gd name="connsiteX142" fmla="*/ 62293 w 368617"/>
                <a:gd name="connsiteY142" fmla="*/ 330898 h 452380"/>
                <a:gd name="connsiteX143" fmla="*/ 55435 w 368617"/>
                <a:gd name="connsiteY143" fmla="*/ 339185 h 452380"/>
                <a:gd name="connsiteX144" fmla="*/ 52864 w 368617"/>
                <a:gd name="connsiteY144" fmla="*/ 349758 h 452380"/>
                <a:gd name="connsiteX145" fmla="*/ 51149 w 368617"/>
                <a:gd name="connsiteY145" fmla="*/ 364903 h 452380"/>
                <a:gd name="connsiteX146" fmla="*/ 50959 w 368617"/>
                <a:gd name="connsiteY146" fmla="*/ 370046 h 452380"/>
                <a:gd name="connsiteX147" fmla="*/ 51149 w 368617"/>
                <a:gd name="connsiteY147" fmla="*/ 385953 h 452380"/>
                <a:gd name="connsiteX148" fmla="*/ 50578 w 368617"/>
                <a:gd name="connsiteY148" fmla="*/ 388620 h 452380"/>
                <a:gd name="connsiteX149" fmla="*/ 50578 w 368617"/>
                <a:gd name="connsiteY149" fmla="*/ 392621 h 452380"/>
                <a:gd name="connsiteX150" fmla="*/ 64484 w 368617"/>
                <a:gd name="connsiteY150" fmla="*/ 400241 h 452380"/>
                <a:gd name="connsiteX151" fmla="*/ 66199 w 368617"/>
                <a:gd name="connsiteY151" fmla="*/ 399479 h 452380"/>
                <a:gd name="connsiteX152" fmla="*/ 74009 w 368617"/>
                <a:gd name="connsiteY152" fmla="*/ 396621 h 452380"/>
                <a:gd name="connsiteX153" fmla="*/ 81629 w 368617"/>
                <a:gd name="connsiteY153" fmla="*/ 389573 h 452380"/>
                <a:gd name="connsiteX154" fmla="*/ 83629 w 368617"/>
                <a:gd name="connsiteY154" fmla="*/ 385763 h 452380"/>
                <a:gd name="connsiteX155" fmla="*/ 88868 w 368617"/>
                <a:gd name="connsiteY155" fmla="*/ 379095 h 452380"/>
                <a:gd name="connsiteX156" fmla="*/ 90773 w 368617"/>
                <a:gd name="connsiteY156" fmla="*/ 381476 h 452380"/>
                <a:gd name="connsiteX157" fmla="*/ 103537 w 368617"/>
                <a:gd name="connsiteY157" fmla="*/ 366903 h 452380"/>
                <a:gd name="connsiteX158" fmla="*/ 107537 w 368617"/>
                <a:gd name="connsiteY158" fmla="*/ 362426 h 452380"/>
                <a:gd name="connsiteX159" fmla="*/ 117157 w 368617"/>
                <a:gd name="connsiteY159" fmla="*/ 353568 h 452380"/>
                <a:gd name="connsiteX160" fmla="*/ 127826 w 368617"/>
                <a:gd name="connsiteY160" fmla="*/ 345377 h 452380"/>
                <a:gd name="connsiteX161" fmla="*/ 129826 w 368617"/>
                <a:gd name="connsiteY161" fmla="*/ 340043 h 452380"/>
                <a:gd name="connsiteX162" fmla="*/ 133636 w 368617"/>
                <a:gd name="connsiteY162" fmla="*/ 337375 h 452380"/>
                <a:gd name="connsiteX163" fmla="*/ 138017 w 368617"/>
                <a:gd name="connsiteY163" fmla="*/ 333756 h 452380"/>
                <a:gd name="connsiteX164" fmla="*/ 146018 w 368617"/>
                <a:gd name="connsiteY164" fmla="*/ 324612 h 452380"/>
                <a:gd name="connsiteX165" fmla="*/ 147733 w 368617"/>
                <a:gd name="connsiteY165" fmla="*/ 322421 h 452380"/>
                <a:gd name="connsiteX166" fmla="*/ 160592 w 368617"/>
                <a:gd name="connsiteY166" fmla="*/ 308134 h 452380"/>
                <a:gd name="connsiteX167" fmla="*/ 167069 w 368617"/>
                <a:gd name="connsiteY167" fmla="*/ 303657 h 452380"/>
                <a:gd name="connsiteX168" fmla="*/ 171831 w 368617"/>
                <a:gd name="connsiteY168" fmla="*/ 301181 h 452380"/>
                <a:gd name="connsiteX169" fmla="*/ 173355 w 368617"/>
                <a:gd name="connsiteY169" fmla="*/ 299085 h 452380"/>
                <a:gd name="connsiteX170" fmla="*/ 176117 w 368617"/>
                <a:gd name="connsiteY170" fmla="*/ 296037 h 452380"/>
                <a:gd name="connsiteX171" fmla="*/ 179737 w 368617"/>
                <a:gd name="connsiteY171" fmla="*/ 300800 h 452380"/>
                <a:gd name="connsiteX172" fmla="*/ 184309 w 368617"/>
                <a:gd name="connsiteY172" fmla="*/ 318897 h 452380"/>
                <a:gd name="connsiteX173" fmla="*/ 189547 w 368617"/>
                <a:gd name="connsiteY173" fmla="*/ 337375 h 452380"/>
                <a:gd name="connsiteX174" fmla="*/ 192595 w 368617"/>
                <a:gd name="connsiteY174" fmla="*/ 352139 h 452380"/>
                <a:gd name="connsiteX175" fmla="*/ 196024 w 368617"/>
                <a:gd name="connsiteY175" fmla="*/ 367094 h 452380"/>
                <a:gd name="connsiteX176" fmla="*/ 198596 w 368617"/>
                <a:gd name="connsiteY176" fmla="*/ 374523 h 452380"/>
                <a:gd name="connsiteX177" fmla="*/ 201263 w 368617"/>
                <a:gd name="connsiteY177" fmla="*/ 393859 h 452380"/>
                <a:gd name="connsiteX178" fmla="*/ 204406 w 368617"/>
                <a:gd name="connsiteY178" fmla="*/ 403098 h 452380"/>
                <a:gd name="connsiteX179" fmla="*/ 207931 w 368617"/>
                <a:gd name="connsiteY179" fmla="*/ 416243 h 452380"/>
                <a:gd name="connsiteX180" fmla="*/ 211741 w 368617"/>
                <a:gd name="connsiteY180" fmla="*/ 422053 h 452380"/>
                <a:gd name="connsiteX181" fmla="*/ 212122 w 368617"/>
                <a:gd name="connsiteY181" fmla="*/ 431864 h 452380"/>
                <a:gd name="connsiteX182" fmla="*/ 223266 w 368617"/>
                <a:gd name="connsiteY182" fmla="*/ 449580 h 452380"/>
                <a:gd name="connsiteX183" fmla="*/ 228695 w 368617"/>
                <a:gd name="connsiteY183" fmla="*/ 451580 h 452380"/>
                <a:gd name="connsiteX184" fmla="*/ 228695 w 368617"/>
                <a:gd name="connsiteY184" fmla="*/ 451580 h 452380"/>
                <a:gd name="connsiteX185" fmla="*/ 233648 w 368617"/>
                <a:gd name="connsiteY185" fmla="*/ 451580 h 452380"/>
                <a:gd name="connsiteX186" fmla="*/ 241840 w 368617"/>
                <a:gd name="connsiteY186" fmla="*/ 448913 h 452380"/>
                <a:gd name="connsiteX187" fmla="*/ 244030 w 368617"/>
                <a:gd name="connsiteY187" fmla="*/ 423386 h 452380"/>
                <a:gd name="connsiteX188" fmla="*/ 240601 w 368617"/>
                <a:gd name="connsiteY188" fmla="*/ 404622 h 452380"/>
                <a:gd name="connsiteX189" fmla="*/ 237172 w 368617"/>
                <a:gd name="connsiteY189" fmla="*/ 386620 h 452380"/>
                <a:gd name="connsiteX190" fmla="*/ 236982 w 368617"/>
                <a:gd name="connsiteY190" fmla="*/ 384620 h 452380"/>
                <a:gd name="connsiteX191" fmla="*/ 232981 w 368617"/>
                <a:gd name="connsiteY191" fmla="*/ 361855 h 452380"/>
                <a:gd name="connsiteX192" fmla="*/ 232029 w 368617"/>
                <a:gd name="connsiteY192" fmla="*/ 350044 h 452380"/>
                <a:gd name="connsiteX193" fmla="*/ 223456 w 368617"/>
                <a:gd name="connsiteY193" fmla="*/ 323279 h 452380"/>
                <a:gd name="connsiteX194" fmla="*/ 212503 w 368617"/>
                <a:gd name="connsiteY194" fmla="*/ 294037 h 452380"/>
                <a:gd name="connsiteX195" fmla="*/ 212217 w 368617"/>
                <a:gd name="connsiteY195" fmla="*/ 285655 h 452380"/>
                <a:gd name="connsiteX196" fmla="*/ 222123 w 368617"/>
                <a:gd name="connsiteY196" fmla="*/ 284988 h 452380"/>
                <a:gd name="connsiteX197" fmla="*/ 234410 w 368617"/>
                <a:gd name="connsiteY197" fmla="*/ 289560 h 452380"/>
                <a:gd name="connsiteX198" fmla="*/ 249079 w 368617"/>
                <a:gd name="connsiteY198" fmla="*/ 291179 h 452380"/>
                <a:gd name="connsiteX199" fmla="*/ 267843 w 368617"/>
                <a:gd name="connsiteY199" fmla="*/ 292227 h 452380"/>
                <a:gd name="connsiteX200" fmla="*/ 272701 w 368617"/>
                <a:gd name="connsiteY200" fmla="*/ 291560 h 452380"/>
                <a:gd name="connsiteX201" fmla="*/ 282893 w 368617"/>
                <a:gd name="connsiteY201" fmla="*/ 292798 h 452380"/>
                <a:gd name="connsiteX202" fmla="*/ 283464 w 368617"/>
                <a:gd name="connsiteY202" fmla="*/ 291179 h 452380"/>
                <a:gd name="connsiteX203" fmla="*/ 283464 w 368617"/>
                <a:gd name="connsiteY203" fmla="*/ 289179 h 452380"/>
                <a:gd name="connsiteX204" fmla="*/ 285560 w 368617"/>
                <a:gd name="connsiteY204" fmla="*/ 290132 h 452380"/>
                <a:gd name="connsiteX205" fmla="*/ 288893 w 368617"/>
                <a:gd name="connsiteY205" fmla="*/ 291656 h 452380"/>
                <a:gd name="connsiteX206" fmla="*/ 309944 w 368617"/>
                <a:gd name="connsiteY206" fmla="*/ 288893 h 452380"/>
                <a:gd name="connsiteX207" fmla="*/ 322421 w 368617"/>
                <a:gd name="connsiteY207" fmla="*/ 283083 h 452380"/>
                <a:gd name="connsiteX208" fmla="*/ 324517 w 368617"/>
                <a:gd name="connsiteY208" fmla="*/ 282797 h 452380"/>
                <a:gd name="connsiteX209" fmla="*/ 333756 w 368617"/>
                <a:gd name="connsiteY209" fmla="*/ 283940 h 452380"/>
                <a:gd name="connsiteX210" fmla="*/ 341567 w 368617"/>
                <a:gd name="connsiteY210" fmla="*/ 285941 h 452380"/>
                <a:gd name="connsiteX211" fmla="*/ 345853 w 368617"/>
                <a:gd name="connsiteY211" fmla="*/ 283940 h 452380"/>
                <a:gd name="connsiteX212" fmla="*/ 346996 w 368617"/>
                <a:gd name="connsiteY212" fmla="*/ 284988 h 452380"/>
                <a:gd name="connsiteX213" fmla="*/ 346710 w 368617"/>
                <a:gd name="connsiteY213" fmla="*/ 281750 h 452380"/>
                <a:gd name="connsiteX214" fmla="*/ 361474 w 368617"/>
                <a:gd name="connsiteY214" fmla="*/ 279559 h 452380"/>
                <a:gd name="connsiteX215" fmla="*/ 363569 w 368617"/>
                <a:gd name="connsiteY215" fmla="*/ 277749 h 452380"/>
                <a:gd name="connsiteX216" fmla="*/ 366046 w 368617"/>
                <a:gd name="connsiteY216" fmla="*/ 270129 h 452380"/>
                <a:gd name="connsiteX217" fmla="*/ 366903 w 368617"/>
                <a:gd name="connsiteY217" fmla="*/ 263271 h 452380"/>
                <a:gd name="connsiteX218" fmla="*/ 367951 w 368617"/>
                <a:gd name="connsiteY218" fmla="*/ 257556 h 452380"/>
                <a:gd name="connsiteX219" fmla="*/ 155543 w 368617"/>
                <a:gd name="connsiteY219" fmla="*/ 115348 h 452380"/>
                <a:gd name="connsiteX220" fmla="*/ 157448 w 368617"/>
                <a:gd name="connsiteY220" fmla="*/ 117729 h 452380"/>
                <a:gd name="connsiteX221" fmla="*/ 156305 w 368617"/>
                <a:gd name="connsiteY221" fmla="*/ 119158 h 452380"/>
                <a:gd name="connsiteX222" fmla="*/ 154115 w 368617"/>
                <a:gd name="connsiteY222" fmla="*/ 116586 h 452380"/>
                <a:gd name="connsiteX223" fmla="*/ 155543 w 368617"/>
                <a:gd name="connsiteY223" fmla="*/ 115348 h 452380"/>
                <a:gd name="connsiteX224" fmla="*/ 158591 w 368617"/>
                <a:gd name="connsiteY224" fmla="*/ 155543 h 452380"/>
                <a:gd name="connsiteX225" fmla="*/ 155353 w 368617"/>
                <a:gd name="connsiteY225" fmla="*/ 156877 h 452380"/>
                <a:gd name="connsiteX226" fmla="*/ 149447 w 368617"/>
                <a:gd name="connsiteY226" fmla="*/ 154591 h 452380"/>
                <a:gd name="connsiteX227" fmla="*/ 141161 w 368617"/>
                <a:gd name="connsiteY227" fmla="*/ 121920 h 452380"/>
                <a:gd name="connsiteX228" fmla="*/ 141637 w 368617"/>
                <a:gd name="connsiteY228" fmla="*/ 118491 h 452380"/>
                <a:gd name="connsiteX229" fmla="*/ 143066 w 368617"/>
                <a:gd name="connsiteY229" fmla="*/ 118491 h 452380"/>
                <a:gd name="connsiteX230" fmla="*/ 151257 w 368617"/>
                <a:gd name="connsiteY230" fmla="*/ 127921 h 452380"/>
                <a:gd name="connsiteX231" fmla="*/ 151543 w 368617"/>
                <a:gd name="connsiteY231" fmla="*/ 128683 h 452380"/>
                <a:gd name="connsiteX232" fmla="*/ 156972 w 368617"/>
                <a:gd name="connsiteY232" fmla="*/ 138303 h 452380"/>
                <a:gd name="connsiteX233" fmla="*/ 163830 w 368617"/>
                <a:gd name="connsiteY233" fmla="*/ 148876 h 452380"/>
                <a:gd name="connsiteX234" fmla="*/ 158591 w 368617"/>
                <a:gd name="connsiteY234" fmla="*/ 155543 h 452380"/>
                <a:gd name="connsiteX235" fmla="*/ 228028 w 368617"/>
                <a:gd name="connsiteY235" fmla="*/ 149257 h 452380"/>
                <a:gd name="connsiteX236" fmla="*/ 218503 w 368617"/>
                <a:gd name="connsiteY236" fmla="*/ 161735 h 452380"/>
                <a:gd name="connsiteX237" fmla="*/ 206978 w 368617"/>
                <a:gd name="connsiteY237" fmla="*/ 178689 h 452380"/>
                <a:gd name="connsiteX238" fmla="*/ 206026 w 368617"/>
                <a:gd name="connsiteY238" fmla="*/ 180404 h 452380"/>
                <a:gd name="connsiteX239" fmla="*/ 189643 w 368617"/>
                <a:gd name="connsiteY239" fmla="*/ 189548 h 452380"/>
                <a:gd name="connsiteX240" fmla="*/ 185642 w 368617"/>
                <a:gd name="connsiteY240" fmla="*/ 198025 h 452380"/>
                <a:gd name="connsiteX241" fmla="*/ 182690 w 368617"/>
                <a:gd name="connsiteY241" fmla="*/ 202597 h 452380"/>
                <a:gd name="connsiteX242" fmla="*/ 180689 w 368617"/>
                <a:gd name="connsiteY242" fmla="*/ 199168 h 452380"/>
                <a:gd name="connsiteX243" fmla="*/ 176403 w 368617"/>
                <a:gd name="connsiteY243" fmla="*/ 193453 h 452380"/>
                <a:gd name="connsiteX244" fmla="*/ 182023 w 368617"/>
                <a:gd name="connsiteY244" fmla="*/ 184404 h 452380"/>
                <a:gd name="connsiteX245" fmla="*/ 184880 w 368617"/>
                <a:gd name="connsiteY245" fmla="*/ 179261 h 452380"/>
                <a:gd name="connsiteX246" fmla="*/ 186214 w 368617"/>
                <a:gd name="connsiteY246" fmla="*/ 178879 h 452380"/>
                <a:gd name="connsiteX247" fmla="*/ 188500 w 368617"/>
                <a:gd name="connsiteY247" fmla="*/ 177641 h 452380"/>
                <a:gd name="connsiteX248" fmla="*/ 194500 w 368617"/>
                <a:gd name="connsiteY248" fmla="*/ 171736 h 452380"/>
                <a:gd name="connsiteX249" fmla="*/ 207073 w 368617"/>
                <a:gd name="connsiteY249" fmla="*/ 155829 h 452380"/>
                <a:gd name="connsiteX250" fmla="*/ 218313 w 368617"/>
                <a:gd name="connsiteY250" fmla="*/ 143542 h 452380"/>
                <a:gd name="connsiteX251" fmla="*/ 229267 w 368617"/>
                <a:gd name="connsiteY251" fmla="*/ 130588 h 452380"/>
                <a:gd name="connsiteX252" fmla="*/ 240316 w 368617"/>
                <a:gd name="connsiteY252" fmla="*/ 114871 h 452380"/>
                <a:gd name="connsiteX253" fmla="*/ 249936 w 368617"/>
                <a:gd name="connsiteY253" fmla="*/ 105346 h 452380"/>
                <a:gd name="connsiteX254" fmla="*/ 262795 w 368617"/>
                <a:gd name="connsiteY254" fmla="*/ 94107 h 452380"/>
                <a:gd name="connsiteX255" fmla="*/ 272129 w 368617"/>
                <a:gd name="connsiteY255" fmla="*/ 84201 h 452380"/>
                <a:gd name="connsiteX256" fmla="*/ 275368 w 368617"/>
                <a:gd name="connsiteY256" fmla="*/ 81153 h 452380"/>
                <a:gd name="connsiteX257" fmla="*/ 278320 w 368617"/>
                <a:gd name="connsiteY257" fmla="*/ 81820 h 452380"/>
                <a:gd name="connsiteX258" fmla="*/ 277273 w 368617"/>
                <a:gd name="connsiteY258" fmla="*/ 85916 h 452380"/>
                <a:gd name="connsiteX259" fmla="*/ 266319 w 368617"/>
                <a:gd name="connsiteY259" fmla="*/ 97917 h 452380"/>
                <a:gd name="connsiteX260" fmla="*/ 256889 w 368617"/>
                <a:gd name="connsiteY260" fmla="*/ 109728 h 452380"/>
                <a:gd name="connsiteX261" fmla="*/ 247174 w 368617"/>
                <a:gd name="connsiteY261" fmla="*/ 123349 h 452380"/>
                <a:gd name="connsiteX262" fmla="*/ 245173 w 368617"/>
                <a:gd name="connsiteY262" fmla="*/ 125730 h 452380"/>
                <a:gd name="connsiteX263" fmla="*/ 242125 w 368617"/>
                <a:gd name="connsiteY263" fmla="*/ 129635 h 452380"/>
                <a:gd name="connsiteX264" fmla="*/ 241268 w 368617"/>
                <a:gd name="connsiteY264" fmla="*/ 128397 h 452380"/>
                <a:gd name="connsiteX265" fmla="*/ 240887 w 368617"/>
                <a:gd name="connsiteY265" fmla="*/ 131921 h 452380"/>
                <a:gd name="connsiteX266" fmla="*/ 228314 w 368617"/>
                <a:gd name="connsiteY266" fmla="*/ 149257 h 4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368617" h="452380">
                  <a:moveTo>
                    <a:pt x="368618" y="257842"/>
                  </a:moveTo>
                  <a:cubicBezTo>
                    <a:pt x="366141" y="253746"/>
                    <a:pt x="367760" y="249555"/>
                    <a:pt x="367951" y="245459"/>
                  </a:cubicBezTo>
                  <a:cubicBezTo>
                    <a:pt x="367951" y="243935"/>
                    <a:pt x="369094" y="242030"/>
                    <a:pt x="366808" y="241745"/>
                  </a:cubicBezTo>
                  <a:cubicBezTo>
                    <a:pt x="364045" y="241459"/>
                    <a:pt x="364808" y="239649"/>
                    <a:pt x="365284" y="238601"/>
                  </a:cubicBezTo>
                  <a:cubicBezTo>
                    <a:pt x="367284" y="234220"/>
                    <a:pt x="364522" y="231267"/>
                    <a:pt x="362426" y="228124"/>
                  </a:cubicBezTo>
                  <a:cubicBezTo>
                    <a:pt x="360426" y="224981"/>
                    <a:pt x="357092" y="223742"/>
                    <a:pt x="353854" y="222028"/>
                  </a:cubicBezTo>
                  <a:cubicBezTo>
                    <a:pt x="348996" y="219361"/>
                    <a:pt x="343853" y="216884"/>
                    <a:pt x="339281" y="213360"/>
                  </a:cubicBezTo>
                  <a:cubicBezTo>
                    <a:pt x="337566" y="212027"/>
                    <a:pt x="335661" y="209550"/>
                    <a:pt x="332708" y="210979"/>
                  </a:cubicBezTo>
                  <a:cubicBezTo>
                    <a:pt x="330898" y="207169"/>
                    <a:pt x="327660" y="207931"/>
                    <a:pt x="324517" y="208312"/>
                  </a:cubicBezTo>
                  <a:cubicBezTo>
                    <a:pt x="324517" y="207359"/>
                    <a:pt x="324326" y="206502"/>
                    <a:pt x="323183" y="206121"/>
                  </a:cubicBezTo>
                  <a:cubicBezTo>
                    <a:pt x="321755" y="205740"/>
                    <a:pt x="320231" y="205264"/>
                    <a:pt x="318707" y="205073"/>
                  </a:cubicBezTo>
                  <a:cubicBezTo>
                    <a:pt x="315659" y="204788"/>
                    <a:pt x="311563" y="208121"/>
                    <a:pt x="309944" y="202502"/>
                  </a:cubicBezTo>
                  <a:cubicBezTo>
                    <a:pt x="309848" y="202025"/>
                    <a:pt x="308991" y="202692"/>
                    <a:pt x="308800" y="202692"/>
                  </a:cubicBezTo>
                  <a:cubicBezTo>
                    <a:pt x="307181" y="202406"/>
                    <a:pt x="305371" y="201168"/>
                    <a:pt x="304705" y="203930"/>
                  </a:cubicBezTo>
                  <a:cubicBezTo>
                    <a:pt x="304229" y="203549"/>
                    <a:pt x="303657" y="203073"/>
                    <a:pt x="303086" y="202787"/>
                  </a:cubicBezTo>
                  <a:cubicBezTo>
                    <a:pt x="301181" y="201644"/>
                    <a:pt x="299180" y="200692"/>
                    <a:pt x="297370" y="199358"/>
                  </a:cubicBezTo>
                  <a:cubicBezTo>
                    <a:pt x="294894" y="197644"/>
                    <a:pt x="291751" y="199549"/>
                    <a:pt x="289274" y="197644"/>
                  </a:cubicBezTo>
                  <a:cubicBezTo>
                    <a:pt x="287084" y="202406"/>
                    <a:pt x="284988" y="198501"/>
                    <a:pt x="282797" y="197644"/>
                  </a:cubicBezTo>
                  <a:cubicBezTo>
                    <a:pt x="281464" y="197072"/>
                    <a:pt x="280416" y="195263"/>
                    <a:pt x="278701" y="195929"/>
                  </a:cubicBezTo>
                  <a:cubicBezTo>
                    <a:pt x="276035" y="196977"/>
                    <a:pt x="279273" y="199263"/>
                    <a:pt x="277940" y="200692"/>
                  </a:cubicBezTo>
                  <a:cubicBezTo>
                    <a:pt x="274511" y="200596"/>
                    <a:pt x="275654" y="197739"/>
                    <a:pt x="275558" y="195453"/>
                  </a:cubicBezTo>
                  <a:cubicBezTo>
                    <a:pt x="274130" y="196691"/>
                    <a:pt x="272891" y="198215"/>
                    <a:pt x="272606" y="198025"/>
                  </a:cubicBezTo>
                  <a:cubicBezTo>
                    <a:pt x="268510" y="195548"/>
                    <a:pt x="263938" y="199073"/>
                    <a:pt x="260223" y="197453"/>
                  </a:cubicBezTo>
                  <a:cubicBezTo>
                    <a:pt x="256508" y="195739"/>
                    <a:pt x="253841" y="193643"/>
                    <a:pt x="249555" y="197072"/>
                  </a:cubicBezTo>
                  <a:cubicBezTo>
                    <a:pt x="246793" y="199168"/>
                    <a:pt x="241554" y="194881"/>
                    <a:pt x="238411" y="199263"/>
                  </a:cubicBezTo>
                  <a:cubicBezTo>
                    <a:pt x="238411" y="199073"/>
                    <a:pt x="238411" y="198882"/>
                    <a:pt x="238316" y="198787"/>
                  </a:cubicBezTo>
                  <a:cubicBezTo>
                    <a:pt x="240030" y="196787"/>
                    <a:pt x="237172" y="196787"/>
                    <a:pt x="236982" y="195548"/>
                  </a:cubicBezTo>
                  <a:cubicBezTo>
                    <a:pt x="237268" y="194596"/>
                    <a:pt x="237553" y="193548"/>
                    <a:pt x="237744" y="192596"/>
                  </a:cubicBezTo>
                  <a:cubicBezTo>
                    <a:pt x="238887" y="186309"/>
                    <a:pt x="245650" y="184118"/>
                    <a:pt x="248031" y="178498"/>
                  </a:cubicBezTo>
                  <a:cubicBezTo>
                    <a:pt x="250889" y="172117"/>
                    <a:pt x="259461" y="169259"/>
                    <a:pt x="259175" y="160782"/>
                  </a:cubicBezTo>
                  <a:cubicBezTo>
                    <a:pt x="259175" y="160496"/>
                    <a:pt x="260223" y="159829"/>
                    <a:pt x="260699" y="159829"/>
                  </a:cubicBezTo>
                  <a:cubicBezTo>
                    <a:pt x="262319" y="160020"/>
                    <a:pt x="262795" y="159639"/>
                    <a:pt x="262604" y="157829"/>
                  </a:cubicBezTo>
                  <a:cubicBezTo>
                    <a:pt x="262414" y="155639"/>
                    <a:pt x="264223" y="154019"/>
                    <a:pt x="265747" y="153734"/>
                  </a:cubicBezTo>
                  <a:cubicBezTo>
                    <a:pt x="269558" y="153067"/>
                    <a:pt x="269939" y="150114"/>
                    <a:pt x="270986" y="147542"/>
                  </a:cubicBezTo>
                  <a:cubicBezTo>
                    <a:pt x="271748" y="145733"/>
                    <a:pt x="271367" y="143161"/>
                    <a:pt x="274320" y="143066"/>
                  </a:cubicBezTo>
                  <a:cubicBezTo>
                    <a:pt x="274034" y="140589"/>
                    <a:pt x="279368" y="139827"/>
                    <a:pt x="276416" y="136398"/>
                  </a:cubicBezTo>
                  <a:cubicBezTo>
                    <a:pt x="276796" y="135636"/>
                    <a:pt x="277178" y="134969"/>
                    <a:pt x="277654" y="134207"/>
                  </a:cubicBezTo>
                  <a:cubicBezTo>
                    <a:pt x="280797" y="131254"/>
                    <a:pt x="284512" y="128683"/>
                    <a:pt x="287084" y="125349"/>
                  </a:cubicBezTo>
                  <a:cubicBezTo>
                    <a:pt x="289465" y="122206"/>
                    <a:pt x="292703" y="119158"/>
                    <a:pt x="292322" y="114491"/>
                  </a:cubicBezTo>
                  <a:cubicBezTo>
                    <a:pt x="294132" y="115157"/>
                    <a:pt x="294608" y="114300"/>
                    <a:pt x="294418" y="112681"/>
                  </a:cubicBezTo>
                  <a:cubicBezTo>
                    <a:pt x="299466" y="108871"/>
                    <a:pt x="300228" y="107347"/>
                    <a:pt x="300133" y="102108"/>
                  </a:cubicBezTo>
                  <a:cubicBezTo>
                    <a:pt x="300133" y="101727"/>
                    <a:pt x="300704" y="101251"/>
                    <a:pt x="300895" y="100870"/>
                  </a:cubicBezTo>
                  <a:cubicBezTo>
                    <a:pt x="302800" y="97250"/>
                    <a:pt x="305467" y="94107"/>
                    <a:pt x="307372" y="90488"/>
                  </a:cubicBezTo>
                  <a:cubicBezTo>
                    <a:pt x="310420" y="84677"/>
                    <a:pt x="313563" y="78867"/>
                    <a:pt x="315373" y="72676"/>
                  </a:cubicBezTo>
                  <a:cubicBezTo>
                    <a:pt x="319183" y="59627"/>
                    <a:pt x="322326" y="46292"/>
                    <a:pt x="321564" y="32480"/>
                  </a:cubicBezTo>
                  <a:cubicBezTo>
                    <a:pt x="321278" y="28099"/>
                    <a:pt x="319183" y="22003"/>
                    <a:pt x="315182" y="22003"/>
                  </a:cubicBezTo>
                  <a:cubicBezTo>
                    <a:pt x="309848" y="22003"/>
                    <a:pt x="306800" y="16288"/>
                    <a:pt x="301371" y="18193"/>
                  </a:cubicBezTo>
                  <a:cubicBezTo>
                    <a:pt x="300038" y="18669"/>
                    <a:pt x="301752" y="16478"/>
                    <a:pt x="300799" y="15907"/>
                  </a:cubicBezTo>
                  <a:cubicBezTo>
                    <a:pt x="297751" y="16955"/>
                    <a:pt x="298323" y="22098"/>
                    <a:pt x="293751" y="21527"/>
                  </a:cubicBezTo>
                  <a:cubicBezTo>
                    <a:pt x="290322" y="21050"/>
                    <a:pt x="290132" y="25241"/>
                    <a:pt x="287465" y="26860"/>
                  </a:cubicBezTo>
                  <a:cubicBezTo>
                    <a:pt x="283464" y="29242"/>
                    <a:pt x="277654" y="30671"/>
                    <a:pt x="276606" y="36671"/>
                  </a:cubicBezTo>
                  <a:cubicBezTo>
                    <a:pt x="274511" y="36100"/>
                    <a:pt x="274130" y="42863"/>
                    <a:pt x="270796" y="38005"/>
                  </a:cubicBezTo>
                  <a:cubicBezTo>
                    <a:pt x="270129" y="37052"/>
                    <a:pt x="269462" y="38291"/>
                    <a:pt x="269367" y="39148"/>
                  </a:cubicBezTo>
                  <a:cubicBezTo>
                    <a:pt x="269272" y="40196"/>
                    <a:pt x="269176" y="41243"/>
                    <a:pt x="268129" y="41815"/>
                  </a:cubicBezTo>
                  <a:cubicBezTo>
                    <a:pt x="263462" y="44482"/>
                    <a:pt x="261175" y="49625"/>
                    <a:pt x="256794" y="52673"/>
                  </a:cubicBezTo>
                  <a:cubicBezTo>
                    <a:pt x="250508" y="57055"/>
                    <a:pt x="247555" y="64865"/>
                    <a:pt x="241173" y="69056"/>
                  </a:cubicBezTo>
                  <a:cubicBezTo>
                    <a:pt x="238316" y="70961"/>
                    <a:pt x="235077" y="72009"/>
                    <a:pt x="234696" y="76010"/>
                  </a:cubicBezTo>
                  <a:cubicBezTo>
                    <a:pt x="234696" y="76200"/>
                    <a:pt x="234124" y="76581"/>
                    <a:pt x="233934" y="76581"/>
                  </a:cubicBezTo>
                  <a:cubicBezTo>
                    <a:pt x="229648" y="75724"/>
                    <a:pt x="228791" y="79915"/>
                    <a:pt x="227838" y="82010"/>
                  </a:cubicBezTo>
                  <a:cubicBezTo>
                    <a:pt x="224219" y="89725"/>
                    <a:pt x="217456" y="94869"/>
                    <a:pt x="212408" y="101346"/>
                  </a:cubicBezTo>
                  <a:cubicBezTo>
                    <a:pt x="210217" y="104204"/>
                    <a:pt x="208026" y="107823"/>
                    <a:pt x="204216" y="110109"/>
                  </a:cubicBezTo>
                  <a:cubicBezTo>
                    <a:pt x="198501" y="113538"/>
                    <a:pt x="192786" y="117729"/>
                    <a:pt x="190976" y="125254"/>
                  </a:cubicBezTo>
                  <a:cubicBezTo>
                    <a:pt x="190500" y="127445"/>
                    <a:pt x="187738" y="129064"/>
                    <a:pt x="184975" y="129254"/>
                  </a:cubicBezTo>
                  <a:cubicBezTo>
                    <a:pt x="182118" y="129445"/>
                    <a:pt x="181927" y="127159"/>
                    <a:pt x="181451" y="125158"/>
                  </a:cubicBezTo>
                  <a:cubicBezTo>
                    <a:pt x="181261" y="124492"/>
                    <a:pt x="180785" y="123920"/>
                    <a:pt x="180499" y="123349"/>
                  </a:cubicBezTo>
                  <a:cubicBezTo>
                    <a:pt x="175355" y="113729"/>
                    <a:pt x="170117" y="104108"/>
                    <a:pt x="165068" y="94393"/>
                  </a:cubicBezTo>
                  <a:cubicBezTo>
                    <a:pt x="164211" y="92678"/>
                    <a:pt x="163830" y="90964"/>
                    <a:pt x="161925" y="89725"/>
                  </a:cubicBezTo>
                  <a:cubicBezTo>
                    <a:pt x="156877" y="86487"/>
                    <a:pt x="158972" y="78677"/>
                    <a:pt x="153162" y="75819"/>
                  </a:cubicBezTo>
                  <a:cubicBezTo>
                    <a:pt x="153352" y="75533"/>
                    <a:pt x="153543" y="75248"/>
                    <a:pt x="153734" y="74962"/>
                  </a:cubicBezTo>
                  <a:cubicBezTo>
                    <a:pt x="154781" y="73723"/>
                    <a:pt x="153829" y="73343"/>
                    <a:pt x="152876" y="72771"/>
                  </a:cubicBezTo>
                  <a:cubicBezTo>
                    <a:pt x="148971" y="70390"/>
                    <a:pt x="145733" y="67437"/>
                    <a:pt x="145637" y="62484"/>
                  </a:cubicBezTo>
                  <a:cubicBezTo>
                    <a:pt x="145637" y="58674"/>
                    <a:pt x="142303" y="56674"/>
                    <a:pt x="141161" y="53531"/>
                  </a:cubicBezTo>
                  <a:cubicBezTo>
                    <a:pt x="138874" y="47149"/>
                    <a:pt x="135922" y="41148"/>
                    <a:pt x="132016" y="35719"/>
                  </a:cubicBezTo>
                  <a:cubicBezTo>
                    <a:pt x="129921" y="32766"/>
                    <a:pt x="126587" y="30575"/>
                    <a:pt x="127921" y="26194"/>
                  </a:cubicBezTo>
                  <a:cubicBezTo>
                    <a:pt x="128302" y="24956"/>
                    <a:pt x="128206" y="23527"/>
                    <a:pt x="127064" y="22384"/>
                  </a:cubicBezTo>
                  <a:cubicBezTo>
                    <a:pt x="121825" y="17526"/>
                    <a:pt x="120205" y="11049"/>
                    <a:pt x="119729" y="4286"/>
                  </a:cubicBezTo>
                  <a:cubicBezTo>
                    <a:pt x="119634" y="2477"/>
                    <a:pt x="119348" y="95"/>
                    <a:pt x="117824" y="0"/>
                  </a:cubicBezTo>
                  <a:cubicBezTo>
                    <a:pt x="116395" y="0"/>
                    <a:pt x="114205" y="572"/>
                    <a:pt x="113062" y="2477"/>
                  </a:cubicBezTo>
                  <a:cubicBezTo>
                    <a:pt x="110490" y="6953"/>
                    <a:pt x="107061" y="11144"/>
                    <a:pt x="105061" y="15811"/>
                  </a:cubicBezTo>
                  <a:cubicBezTo>
                    <a:pt x="104203" y="17812"/>
                    <a:pt x="101727" y="19431"/>
                    <a:pt x="102108" y="20383"/>
                  </a:cubicBezTo>
                  <a:cubicBezTo>
                    <a:pt x="104013" y="25146"/>
                    <a:pt x="100013" y="25527"/>
                    <a:pt x="97726" y="26765"/>
                  </a:cubicBezTo>
                  <a:cubicBezTo>
                    <a:pt x="92964" y="29432"/>
                    <a:pt x="92012" y="32957"/>
                    <a:pt x="95345" y="37433"/>
                  </a:cubicBezTo>
                  <a:cubicBezTo>
                    <a:pt x="98869" y="42101"/>
                    <a:pt x="101441" y="47054"/>
                    <a:pt x="100013" y="53340"/>
                  </a:cubicBezTo>
                  <a:cubicBezTo>
                    <a:pt x="99536" y="55340"/>
                    <a:pt x="99441" y="57626"/>
                    <a:pt x="102299" y="58293"/>
                  </a:cubicBezTo>
                  <a:cubicBezTo>
                    <a:pt x="103251" y="58483"/>
                    <a:pt x="103823" y="59055"/>
                    <a:pt x="103918" y="60008"/>
                  </a:cubicBezTo>
                  <a:cubicBezTo>
                    <a:pt x="104203" y="64294"/>
                    <a:pt x="106394" y="68485"/>
                    <a:pt x="105156" y="72866"/>
                  </a:cubicBezTo>
                  <a:cubicBezTo>
                    <a:pt x="104203" y="76105"/>
                    <a:pt x="105061" y="78296"/>
                    <a:pt x="107251" y="80581"/>
                  </a:cubicBezTo>
                  <a:cubicBezTo>
                    <a:pt x="108014" y="81344"/>
                    <a:pt x="108776" y="83248"/>
                    <a:pt x="108299" y="83820"/>
                  </a:cubicBezTo>
                  <a:cubicBezTo>
                    <a:pt x="103918" y="89916"/>
                    <a:pt x="111728" y="94679"/>
                    <a:pt x="110014" y="101156"/>
                  </a:cubicBezTo>
                  <a:cubicBezTo>
                    <a:pt x="109061" y="104680"/>
                    <a:pt x="112871" y="110585"/>
                    <a:pt x="112776" y="114586"/>
                  </a:cubicBezTo>
                  <a:cubicBezTo>
                    <a:pt x="112395" y="124682"/>
                    <a:pt x="119158" y="132779"/>
                    <a:pt x="118872" y="142780"/>
                  </a:cubicBezTo>
                  <a:cubicBezTo>
                    <a:pt x="118681" y="148781"/>
                    <a:pt x="122111" y="154496"/>
                    <a:pt x="123444" y="160401"/>
                  </a:cubicBezTo>
                  <a:cubicBezTo>
                    <a:pt x="124777" y="166497"/>
                    <a:pt x="127064" y="172307"/>
                    <a:pt x="128492" y="178308"/>
                  </a:cubicBezTo>
                  <a:cubicBezTo>
                    <a:pt x="128873" y="179832"/>
                    <a:pt x="129635" y="181546"/>
                    <a:pt x="128492" y="182594"/>
                  </a:cubicBezTo>
                  <a:cubicBezTo>
                    <a:pt x="127730" y="183261"/>
                    <a:pt x="126111" y="183547"/>
                    <a:pt x="124587" y="183166"/>
                  </a:cubicBezTo>
                  <a:cubicBezTo>
                    <a:pt x="121349" y="182309"/>
                    <a:pt x="120872" y="175165"/>
                    <a:pt x="115633" y="179261"/>
                  </a:cubicBezTo>
                  <a:cubicBezTo>
                    <a:pt x="114490" y="176879"/>
                    <a:pt x="112109" y="176784"/>
                    <a:pt x="110204" y="175641"/>
                  </a:cubicBezTo>
                  <a:cubicBezTo>
                    <a:pt x="106489" y="173546"/>
                    <a:pt x="100679" y="170021"/>
                    <a:pt x="99251" y="171641"/>
                  </a:cubicBezTo>
                  <a:cubicBezTo>
                    <a:pt x="94107" y="177546"/>
                    <a:pt x="92869" y="169926"/>
                    <a:pt x="89726" y="169926"/>
                  </a:cubicBezTo>
                  <a:cubicBezTo>
                    <a:pt x="89344" y="169926"/>
                    <a:pt x="88964" y="170593"/>
                    <a:pt x="88582" y="170879"/>
                  </a:cubicBezTo>
                  <a:cubicBezTo>
                    <a:pt x="88392" y="170021"/>
                    <a:pt x="88964" y="168307"/>
                    <a:pt x="88011" y="168497"/>
                  </a:cubicBezTo>
                  <a:cubicBezTo>
                    <a:pt x="86296" y="168878"/>
                    <a:pt x="86963" y="170498"/>
                    <a:pt x="87535" y="171641"/>
                  </a:cubicBezTo>
                  <a:cubicBezTo>
                    <a:pt x="84963" y="170879"/>
                    <a:pt x="82010" y="170688"/>
                    <a:pt x="79915" y="169164"/>
                  </a:cubicBezTo>
                  <a:cubicBezTo>
                    <a:pt x="75724" y="166116"/>
                    <a:pt x="71342" y="166116"/>
                    <a:pt x="66675" y="166306"/>
                  </a:cubicBezTo>
                  <a:cubicBezTo>
                    <a:pt x="66199" y="165640"/>
                    <a:pt x="65532" y="165259"/>
                    <a:pt x="64579" y="165354"/>
                  </a:cubicBezTo>
                  <a:cubicBezTo>
                    <a:pt x="59436" y="165830"/>
                    <a:pt x="54959" y="171736"/>
                    <a:pt x="49339" y="167164"/>
                  </a:cubicBezTo>
                  <a:cubicBezTo>
                    <a:pt x="49244" y="167164"/>
                    <a:pt x="48958" y="166973"/>
                    <a:pt x="48863" y="167069"/>
                  </a:cubicBezTo>
                  <a:cubicBezTo>
                    <a:pt x="44005" y="169354"/>
                    <a:pt x="39338" y="167259"/>
                    <a:pt x="34576" y="166402"/>
                  </a:cubicBezTo>
                  <a:cubicBezTo>
                    <a:pt x="31909" y="165164"/>
                    <a:pt x="30099" y="166973"/>
                    <a:pt x="28289" y="168402"/>
                  </a:cubicBezTo>
                  <a:cubicBezTo>
                    <a:pt x="25717" y="169736"/>
                    <a:pt x="22289" y="169926"/>
                    <a:pt x="21431" y="173450"/>
                  </a:cubicBezTo>
                  <a:cubicBezTo>
                    <a:pt x="21050" y="171641"/>
                    <a:pt x="20574" y="170212"/>
                    <a:pt x="18097" y="171260"/>
                  </a:cubicBezTo>
                  <a:cubicBezTo>
                    <a:pt x="16002" y="172212"/>
                    <a:pt x="12478" y="170117"/>
                    <a:pt x="11716" y="173927"/>
                  </a:cubicBezTo>
                  <a:cubicBezTo>
                    <a:pt x="11335" y="175641"/>
                    <a:pt x="11144" y="176784"/>
                    <a:pt x="9430" y="178022"/>
                  </a:cubicBezTo>
                  <a:cubicBezTo>
                    <a:pt x="6953" y="179927"/>
                    <a:pt x="4858" y="182690"/>
                    <a:pt x="6953" y="186404"/>
                  </a:cubicBezTo>
                  <a:cubicBezTo>
                    <a:pt x="7525" y="187452"/>
                    <a:pt x="7620" y="189167"/>
                    <a:pt x="7239" y="190310"/>
                  </a:cubicBezTo>
                  <a:cubicBezTo>
                    <a:pt x="5429" y="194691"/>
                    <a:pt x="3810" y="199358"/>
                    <a:pt x="1143" y="203264"/>
                  </a:cubicBezTo>
                  <a:cubicBezTo>
                    <a:pt x="-1905" y="207836"/>
                    <a:pt x="4096" y="212693"/>
                    <a:pt x="0" y="216789"/>
                  </a:cubicBezTo>
                  <a:cubicBezTo>
                    <a:pt x="0" y="216789"/>
                    <a:pt x="381" y="217265"/>
                    <a:pt x="571" y="217646"/>
                  </a:cubicBezTo>
                  <a:cubicBezTo>
                    <a:pt x="2572" y="221456"/>
                    <a:pt x="7239" y="220980"/>
                    <a:pt x="10001" y="221742"/>
                  </a:cubicBezTo>
                  <a:cubicBezTo>
                    <a:pt x="16097" y="223361"/>
                    <a:pt x="22384" y="222980"/>
                    <a:pt x="27718" y="227743"/>
                  </a:cubicBezTo>
                  <a:cubicBezTo>
                    <a:pt x="34290" y="233553"/>
                    <a:pt x="44767" y="230219"/>
                    <a:pt x="51054" y="236982"/>
                  </a:cubicBezTo>
                  <a:cubicBezTo>
                    <a:pt x="51340" y="237268"/>
                    <a:pt x="52673" y="237173"/>
                    <a:pt x="52959" y="236792"/>
                  </a:cubicBezTo>
                  <a:cubicBezTo>
                    <a:pt x="55245" y="234029"/>
                    <a:pt x="57817" y="236125"/>
                    <a:pt x="60293" y="236220"/>
                  </a:cubicBezTo>
                  <a:cubicBezTo>
                    <a:pt x="61817" y="237839"/>
                    <a:pt x="63627" y="237649"/>
                    <a:pt x="65818" y="237649"/>
                  </a:cubicBezTo>
                  <a:cubicBezTo>
                    <a:pt x="70485" y="237649"/>
                    <a:pt x="75248" y="238982"/>
                    <a:pt x="79915" y="239363"/>
                  </a:cubicBezTo>
                  <a:cubicBezTo>
                    <a:pt x="85534" y="239744"/>
                    <a:pt x="90964" y="242888"/>
                    <a:pt x="97060" y="240030"/>
                  </a:cubicBezTo>
                  <a:cubicBezTo>
                    <a:pt x="98489" y="239363"/>
                    <a:pt x="103251" y="237649"/>
                    <a:pt x="104489" y="240030"/>
                  </a:cubicBezTo>
                  <a:cubicBezTo>
                    <a:pt x="106870" y="244697"/>
                    <a:pt x="108490" y="243840"/>
                    <a:pt x="110871" y="239744"/>
                  </a:cubicBezTo>
                  <a:cubicBezTo>
                    <a:pt x="112109" y="242888"/>
                    <a:pt x="112871" y="246507"/>
                    <a:pt x="116205" y="242125"/>
                  </a:cubicBezTo>
                  <a:cubicBezTo>
                    <a:pt x="117919" y="239840"/>
                    <a:pt x="119063" y="242411"/>
                    <a:pt x="120491" y="243078"/>
                  </a:cubicBezTo>
                  <a:cubicBezTo>
                    <a:pt x="121539" y="243459"/>
                    <a:pt x="121920" y="245554"/>
                    <a:pt x="123634" y="244412"/>
                  </a:cubicBezTo>
                  <a:cubicBezTo>
                    <a:pt x="126778" y="248984"/>
                    <a:pt x="130016" y="242983"/>
                    <a:pt x="133255" y="244412"/>
                  </a:cubicBezTo>
                  <a:cubicBezTo>
                    <a:pt x="133636" y="248317"/>
                    <a:pt x="131350" y="248507"/>
                    <a:pt x="128492" y="247745"/>
                  </a:cubicBezTo>
                  <a:cubicBezTo>
                    <a:pt x="127826" y="252127"/>
                    <a:pt x="123253" y="253556"/>
                    <a:pt x="121444" y="257270"/>
                  </a:cubicBezTo>
                  <a:cubicBezTo>
                    <a:pt x="119158" y="262223"/>
                    <a:pt x="116872" y="267843"/>
                    <a:pt x="112966" y="271082"/>
                  </a:cubicBezTo>
                  <a:cubicBezTo>
                    <a:pt x="109538" y="273939"/>
                    <a:pt x="106680" y="276511"/>
                    <a:pt x="105156" y="280702"/>
                  </a:cubicBezTo>
                  <a:cubicBezTo>
                    <a:pt x="101917" y="283369"/>
                    <a:pt x="99441" y="287084"/>
                    <a:pt x="96202" y="289465"/>
                  </a:cubicBezTo>
                  <a:cubicBezTo>
                    <a:pt x="91250" y="293180"/>
                    <a:pt x="89440" y="298514"/>
                    <a:pt x="86582" y="303371"/>
                  </a:cubicBezTo>
                  <a:cubicBezTo>
                    <a:pt x="85153" y="305848"/>
                    <a:pt x="84201" y="307848"/>
                    <a:pt x="81629" y="309658"/>
                  </a:cubicBezTo>
                  <a:cubicBezTo>
                    <a:pt x="78867" y="311658"/>
                    <a:pt x="73533" y="311944"/>
                    <a:pt x="74104" y="317468"/>
                  </a:cubicBezTo>
                  <a:cubicBezTo>
                    <a:pt x="74104" y="317945"/>
                    <a:pt x="73057" y="318707"/>
                    <a:pt x="72295" y="319088"/>
                  </a:cubicBezTo>
                  <a:cubicBezTo>
                    <a:pt x="69056" y="321088"/>
                    <a:pt x="65913" y="322993"/>
                    <a:pt x="64865" y="327184"/>
                  </a:cubicBezTo>
                  <a:cubicBezTo>
                    <a:pt x="64579" y="328613"/>
                    <a:pt x="63437" y="330041"/>
                    <a:pt x="62293" y="330898"/>
                  </a:cubicBezTo>
                  <a:cubicBezTo>
                    <a:pt x="60293" y="332327"/>
                    <a:pt x="55912" y="337185"/>
                    <a:pt x="55435" y="339185"/>
                  </a:cubicBezTo>
                  <a:cubicBezTo>
                    <a:pt x="54578" y="342710"/>
                    <a:pt x="53530" y="346234"/>
                    <a:pt x="52864" y="349758"/>
                  </a:cubicBezTo>
                  <a:cubicBezTo>
                    <a:pt x="51911" y="354711"/>
                    <a:pt x="48958" y="359473"/>
                    <a:pt x="51149" y="364903"/>
                  </a:cubicBezTo>
                  <a:cubicBezTo>
                    <a:pt x="51721" y="366332"/>
                    <a:pt x="50864" y="368332"/>
                    <a:pt x="50959" y="370046"/>
                  </a:cubicBezTo>
                  <a:cubicBezTo>
                    <a:pt x="51244" y="375285"/>
                    <a:pt x="46006" y="380619"/>
                    <a:pt x="51149" y="385953"/>
                  </a:cubicBezTo>
                  <a:cubicBezTo>
                    <a:pt x="51911" y="386810"/>
                    <a:pt x="51530" y="388144"/>
                    <a:pt x="50578" y="388620"/>
                  </a:cubicBezTo>
                  <a:cubicBezTo>
                    <a:pt x="47625" y="389954"/>
                    <a:pt x="49816" y="391573"/>
                    <a:pt x="50578" y="392621"/>
                  </a:cubicBezTo>
                  <a:cubicBezTo>
                    <a:pt x="53912" y="397383"/>
                    <a:pt x="61341" y="394811"/>
                    <a:pt x="64484" y="400241"/>
                  </a:cubicBezTo>
                  <a:cubicBezTo>
                    <a:pt x="64484" y="400241"/>
                    <a:pt x="65913" y="399955"/>
                    <a:pt x="66199" y="399479"/>
                  </a:cubicBezTo>
                  <a:cubicBezTo>
                    <a:pt x="68199" y="396621"/>
                    <a:pt x="71342" y="397478"/>
                    <a:pt x="74009" y="396621"/>
                  </a:cubicBezTo>
                  <a:cubicBezTo>
                    <a:pt x="77343" y="395573"/>
                    <a:pt x="82582" y="395859"/>
                    <a:pt x="81629" y="389573"/>
                  </a:cubicBezTo>
                  <a:cubicBezTo>
                    <a:pt x="81439" y="388334"/>
                    <a:pt x="82772" y="385858"/>
                    <a:pt x="83629" y="385763"/>
                  </a:cubicBezTo>
                  <a:cubicBezTo>
                    <a:pt x="87820" y="385382"/>
                    <a:pt x="87439" y="381571"/>
                    <a:pt x="88868" y="379095"/>
                  </a:cubicBezTo>
                  <a:cubicBezTo>
                    <a:pt x="89630" y="380048"/>
                    <a:pt x="90297" y="380810"/>
                    <a:pt x="90773" y="381476"/>
                  </a:cubicBezTo>
                  <a:cubicBezTo>
                    <a:pt x="95155" y="376523"/>
                    <a:pt x="99346" y="371666"/>
                    <a:pt x="103537" y="366903"/>
                  </a:cubicBezTo>
                  <a:cubicBezTo>
                    <a:pt x="104870" y="365379"/>
                    <a:pt x="106013" y="362712"/>
                    <a:pt x="107537" y="362426"/>
                  </a:cubicBezTo>
                  <a:cubicBezTo>
                    <a:pt x="112776" y="361379"/>
                    <a:pt x="115824" y="357759"/>
                    <a:pt x="117157" y="353568"/>
                  </a:cubicBezTo>
                  <a:cubicBezTo>
                    <a:pt x="118967" y="347853"/>
                    <a:pt x="123253" y="346710"/>
                    <a:pt x="127826" y="345377"/>
                  </a:cubicBezTo>
                  <a:cubicBezTo>
                    <a:pt x="131731" y="344805"/>
                    <a:pt x="129159" y="341852"/>
                    <a:pt x="129826" y="340043"/>
                  </a:cubicBezTo>
                  <a:cubicBezTo>
                    <a:pt x="130874" y="338900"/>
                    <a:pt x="129445" y="334804"/>
                    <a:pt x="133636" y="337375"/>
                  </a:cubicBezTo>
                  <a:cubicBezTo>
                    <a:pt x="134779" y="338042"/>
                    <a:pt x="137065" y="335756"/>
                    <a:pt x="138017" y="333756"/>
                  </a:cubicBezTo>
                  <a:cubicBezTo>
                    <a:pt x="139827" y="329946"/>
                    <a:pt x="141161" y="325755"/>
                    <a:pt x="146018" y="324612"/>
                  </a:cubicBezTo>
                  <a:cubicBezTo>
                    <a:pt x="147066" y="324326"/>
                    <a:pt x="148590" y="324231"/>
                    <a:pt x="147733" y="322421"/>
                  </a:cubicBezTo>
                  <a:cubicBezTo>
                    <a:pt x="150304" y="316135"/>
                    <a:pt x="155639" y="312039"/>
                    <a:pt x="160592" y="308134"/>
                  </a:cubicBezTo>
                  <a:cubicBezTo>
                    <a:pt x="162401" y="306705"/>
                    <a:pt x="165735" y="306324"/>
                    <a:pt x="167069" y="303657"/>
                  </a:cubicBezTo>
                  <a:cubicBezTo>
                    <a:pt x="168116" y="301562"/>
                    <a:pt x="168688" y="299371"/>
                    <a:pt x="171831" y="301181"/>
                  </a:cubicBezTo>
                  <a:cubicBezTo>
                    <a:pt x="172402" y="301466"/>
                    <a:pt x="173545" y="300419"/>
                    <a:pt x="173355" y="299085"/>
                  </a:cubicBezTo>
                  <a:cubicBezTo>
                    <a:pt x="172974" y="296990"/>
                    <a:pt x="174784" y="296704"/>
                    <a:pt x="176117" y="296037"/>
                  </a:cubicBezTo>
                  <a:cubicBezTo>
                    <a:pt x="176308" y="298418"/>
                    <a:pt x="180118" y="298133"/>
                    <a:pt x="179737" y="300800"/>
                  </a:cubicBezTo>
                  <a:cubicBezTo>
                    <a:pt x="178689" y="307467"/>
                    <a:pt x="181737" y="313373"/>
                    <a:pt x="184309" y="318897"/>
                  </a:cubicBezTo>
                  <a:cubicBezTo>
                    <a:pt x="186976" y="324898"/>
                    <a:pt x="188214" y="331089"/>
                    <a:pt x="189547" y="337375"/>
                  </a:cubicBezTo>
                  <a:cubicBezTo>
                    <a:pt x="190595" y="342329"/>
                    <a:pt x="190405" y="347853"/>
                    <a:pt x="192595" y="352139"/>
                  </a:cubicBezTo>
                  <a:cubicBezTo>
                    <a:pt x="195072" y="356997"/>
                    <a:pt x="192595" y="362426"/>
                    <a:pt x="196024" y="367094"/>
                  </a:cubicBezTo>
                  <a:cubicBezTo>
                    <a:pt x="197263" y="368713"/>
                    <a:pt x="197072" y="372237"/>
                    <a:pt x="198596" y="374523"/>
                  </a:cubicBezTo>
                  <a:cubicBezTo>
                    <a:pt x="197834" y="381191"/>
                    <a:pt x="201549" y="387287"/>
                    <a:pt x="201263" y="393859"/>
                  </a:cubicBezTo>
                  <a:cubicBezTo>
                    <a:pt x="201073" y="397383"/>
                    <a:pt x="204121" y="399955"/>
                    <a:pt x="204406" y="403098"/>
                  </a:cubicBezTo>
                  <a:cubicBezTo>
                    <a:pt x="204883" y="407765"/>
                    <a:pt x="205740" y="412052"/>
                    <a:pt x="207931" y="416243"/>
                  </a:cubicBezTo>
                  <a:cubicBezTo>
                    <a:pt x="208978" y="418338"/>
                    <a:pt x="208502" y="421386"/>
                    <a:pt x="211741" y="422053"/>
                  </a:cubicBezTo>
                  <a:cubicBezTo>
                    <a:pt x="208693" y="425387"/>
                    <a:pt x="211360" y="428625"/>
                    <a:pt x="212122" y="431864"/>
                  </a:cubicBezTo>
                  <a:cubicBezTo>
                    <a:pt x="213931" y="438912"/>
                    <a:pt x="216884" y="445389"/>
                    <a:pt x="223266" y="449580"/>
                  </a:cubicBezTo>
                  <a:cubicBezTo>
                    <a:pt x="224790" y="450914"/>
                    <a:pt x="225838" y="453771"/>
                    <a:pt x="228695" y="451580"/>
                  </a:cubicBezTo>
                  <a:lnTo>
                    <a:pt x="228695" y="451580"/>
                  </a:lnTo>
                  <a:cubicBezTo>
                    <a:pt x="230315" y="450533"/>
                    <a:pt x="231934" y="449485"/>
                    <a:pt x="233648" y="451580"/>
                  </a:cubicBezTo>
                  <a:cubicBezTo>
                    <a:pt x="234220" y="452342"/>
                    <a:pt x="241554" y="449866"/>
                    <a:pt x="241840" y="448913"/>
                  </a:cubicBezTo>
                  <a:cubicBezTo>
                    <a:pt x="244602" y="440531"/>
                    <a:pt x="245173" y="431959"/>
                    <a:pt x="244030" y="423386"/>
                  </a:cubicBezTo>
                  <a:cubicBezTo>
                    <a:pt x="243173" y="417100"/>
                    <a:pt x="241745" y="410813"/>
                    <a:pt x="240601" y="404622"/>
                  </a:cubicBezTo>
                  <a:cubicBezTo>
                    <a:pt x="239459" y="398621"/>
                    <a:pt x="242221" y="391954"/>
                    <a:pt x="237172" y="386620"/>
                  </a:cubicBezTo>
                  <a:cubicBezTo>
                    <a:pt x="236792" y="386239"/>
                    <a:pt x="236982" y="385286"/>
                    <a:pt x="236982" y="384620"/>
                  </a:cubicBezTo>
                  <a:cubicBezTo>
                    <a:pt x="237268" y="376714"/>
                    <a:pt x="235172" y="369284"/>
                    <a:pt x="232981" y="361855"/>
                  </a:cubicBezTo>
                  <a:cubicBezTo>
                    <a:pt x="235077" y="357759"/>
                    <a:pt x="229648" y="354235"/>
                    <a:pt x="232029" y="350044"/>
                  </a:cubicBezTo>
                  <a:cubicBezTo>
                    <a:pt x="226409" y="342043"/>
                    <a:pt x="226123" y="332232"/>
                    <a:pt x="223456" y="323279"/>
                  </a:cubicBezTo>
                  <a:cubicBezTo>
                    <a:pt x="220409" y="313182"/>
                    <a:pt x="215360" y="304038"/>
                    <a:pt x="212503" y="294037"/>
                  </a:cubicBezTo>
                  <a:cubicBezTo>
                    <a:pt x="211741" y="291275"/>
                    <a:pt x="210217" y="287274"/>
                    <a:pt x="212217" y="285655"/>
                  </a:cubicBezTo>
                  <a:cubicBezTo>
                    <a:pt x="214694" y="283750"/>
                    <a:pt x="218885" y="288227"/>
                    <a:pt x="222123" y="284988"/>
                  </a:cubicBezTo>
                  <a:cubicBezTo>
                    <a:pt x="224599" y="290703"/>
                    <a:pt x="230695" y="290036"/>
                    <a:pt x="234410" y="289560"/>
                  </a:cubicBezTo>
                  <a:cubicBezTo>
                    <a:pt x="239649" y="288893"/>
                    <a:pt x="244030" y="291370"/>
                    <a:pt x="249079" y="291179"/>
                  </a:cubicBezTo>
                  <a:cubicBezTo>
                    <a:pt x="255175" y="290989"/>
                    <a:pt x="261556" y="292132"/>
                    <a:pt x="267843" y="292227"/>
                  </a:cubicBezTo>
                  <a:cubicBezTo>
                    <a:pt x="269367" y="292227"/>
                    <a:pt x="270891" y="290608"/>
                    <a:pt x="272701" y="291560"/>
                  </a:cubicBezTo>
                  <a:cubicBezTo>
                    <a:pt x="275939" y="293370"/>
                    <a:pt x="279749" y="290132"/>
                    <a:pt x="282893" y="292798"/>
                  </a:cubicBezTo>
                  <a:cubicBezTo>
                    <a:pt x="283083" y="292989"/>
                    <a:pt x="283750" y="291941"/>
                    <a:pt x="283464" y="291179"/>
                  </a:cubicBezTo>
                  <a:cubicBezTo>
                    <a:pt x="283178" y="290513"/>
                    <a:pt x="282131" y="289655"/>
                    <a:pt x="283464" y="289179"/>
                  </a:cubicBezTo>
                  <a:cubicBezTo>
                    <a:pt x="284226" y="288893"/>
                    <a:pt x="285179" y="289084"/>
                    <a:pt x="285560" y="290132"/>
                  </a:cubicBezTo>
                  <a:cubicBezTo>
                    <a:pt x="286226" y="291751"/>
                    <a:pt x="287179" y="291465"/>
                    <a:pt x="288893" y="291656"/>
                  </a:cubicBezTo>
                  <a:cubicBezTo>
                    <a:pt x="296132" y="292418"/>
                    <a:pt x="302419" y="287655"/>
                    <a:pt x="309944" y="288893"/>
                  </a:cubicBezTo>
                  <a:cubicBezTo>
                    <a:pt x="313468" y="289465"/>
                    <a:pt x="319849" y="288417"/>
                    <a:pt x="322421" y="283083"/>
                  </a:cubicBezTo>
                  <a:cubicBezTo>
                    <a:pt x="322802" y="282226"/>
                    <a:pt x="323755" y="281845"/>
                    <a:pt x="324517" y="282797"/>
                  </a:cubicBezTo>
                  <a:cubicBezTo>
                    <a:pt x="327184" y="286417"/>
                    <a:pt x="330803" y="284702"/>
                    <a:pt x="333756" y="283940"/>
                  </a:cubicBezTo>
                  <a:cubicBezTo>
                    <a:pt x="336995" y="283178"/>
                    <a:pt x="339376" y="283940"/>
                    <a:pt x="341567" y="285941"/>
                  </a:cubicBezTo>
                  <a:cubicBezTo>
                    <a:pt x="343567" y="286417"/>
                    <a:pt x="344615" y="285083"/>
                    <a:pt x="345853" y="283940"/>
                  </a:cubicBezTo>
                  <a:cubicBezTo>
                    <a:pt x="346043" y="284512"/>
                    <a:pt x="346139" y="285750"/>
                    <a:pt x="346996" y="284988"/>
                  </a:cubicBezTo>
                  <a:cubicBezTo>
                    <a:pt x="348234" y="284036"/>
                    <a:pt x="346424" y="282893"/>
                    <a:pt x="346710" y="281750"/>
                  </a:cubicBezTo>
                  <a:cubicBezTo>
                    <a:pt x="351282" y="278606"/>
                    <a:pt x="356807" y="282035"/>
                    <a:pt x="361474" y="279559"/>
                  </a:cubicBezTo>
                  <a:cubicBezTo>
                    <a:pt x="364331" y="281369"/>
                    <a:pt x="363093" y="278511"/>
                    <a:pt x="363569" y="277749"/>
                  </a:cubicBezTo>
                  <a:cubicBezTo>
                    <a:pt x="366617" y="275939"/>
                    <a:pt x="367665" y="273177"/>
                    <a:pt x="366046" y="270129"/>
                  </a:cubicBezTo>
                  <a:cubicBezTo>
                    <a:pt x="364522" y="267367"/>
                    <a:pt x="364236" y="265462"/>
                    <a:pt x="366903" y="263271"/>
                  </a:cubicBezTo>
                  <a:cubicBezTo>
                    <a:pt x="368522" y="262033"/>
                    <a:pt x="369094" y="259461"/>
                    <a:pt x="367951" y="257556"/>
                  </a:cubicBezTo>
                  <a:moveTo>
                    <a:pt x="155543" y="115348"/>
                  </a:moveTo>
                  <a:cubicBezTo>
                    <a:pt x="157067" y="115443"/>
                    <a:pt x="157734" y="116205"/>
                    <a:pt x="157448" y="117729"/>
                  </a:cubicBezTo>
                  <a:cubicBezTo>
                    <a:pt x="157353" y="118396"/>
                    <a:pt x="157163" y="119253"/>
                    <a:pt x="156305" y="119158"/>
                  </a:cubicBezTo>
                  <a:cubicBezTo>
                    <a:pt x="154876" y="118967"/>
                    <a:pt x="154495" y="117824"/>
                    <a:pt x="154115" y="116586"/>
                  </a:cubicBezTo>
                  <a:cubicBezTo>
                    <a:pt x="153638" y="115062"/>
                    <a:pt x="154876" y="115443"/>
                    <a:pt x="155543" y="115348"/>
                  </a:cubicBezTo>
                  <a:moveTo>
                    <a:pt x="158591" y="155543"/>
                  </a:moveTo>
                  <a:cubicBezTo>
                    <a:pt x="157544" y="156020"/>
                    <a:pt x="156305" y="156020"/>
                    <a:pt x="155353" y="156877"/>
                  </a:cubicBezTo>
                  <a:cubicBezTo>
                    <a:pt x="152305" y="159544"/>
                    <a:pt x="150876" y="158687"/>
                    <a:pt x="149447" y="154591"/>
                  </a:cubicBezTo>
                  <a:cubicBezTo>
                    <a:pt x="145733" y="143923"/>
                    <a:pt x="145923" y="132302"/>
                    <a:pt x="141161" y="121920"/>
                  </a:cubicBezTo>
                  <a:cubicBezTo>
                    <a:pt x="140779" y="121063"/>
                    <a:pt x="141446" y="119634"/>
                    <a:pt x="141637" y="118491"/>
                  </a:cubicBezTo>
                  <a:lnTo>
                    <a:pt x="143066" y="118491"/>
                  </a:lnTo>
                  <a:cubicBezTo>
                    <a:pt x="146399" y="121063"/>
                    <a:pt x="145733" y="127159"/>
                    <a:pt x="151257" y="127921"/>
                  </a:cubicBezTo>
                  <a:cubicBezTo>
                    <a:pt x="151352" y="127921"/>
                    <a:pt x="151543" y="128492"/>
                    <a:pt x="151543" y="128683"/>
                  </a:cubicBezTo>
                  <a:cubicBezTo>
                    <a:pt x="149543" y="134017"/>
                    <a:pt x="154305" y="136208"/>
                    <a:pt x="156972" y="138303"/>
                  </a:cubicBezTo>
                  <a:cubicBezTo>
                    <a:pt x="160782" y="141161"/>
                    <a:pt x="162877" y="144971"/>
                    <a:pt x="163830" y="148876"/>
                  </a:cubicBezTo>
                  <a:cubicBezTo>
                    <a:pt x="164306" y="150876"/>
                    <a:pt x="161449" y="154210"/>
                    <a:pt x="158591" y="155543"/>
                  </a:cubicBezTo>
                  <a:moveTo>
                    <a:pt x="228028" y="149257"/>
                  </a:moveTo>
                  <a:cubicBezTo>
                    <a:pt x="224504" y="153352"/>
                    <a:pt x="222409" y="159734"/>
                    <a:pt x="218503" y="161735"/>
                  </a:cubicBezTo>
                  <a:cubicBezTo>
                    <a:pt x="210979" y="165735"/>
                    <a:pt x="211169" y="173450"/>
                    <a:pt x="206978" y="178689"/>
                  </a:cubicBezTo>
                  <a:cubicBezTo>
                    <a:pt x="206597" y="179165"/>
                    <a:pt x="206216" y="180404"/>
                    <a:pt x="206026" y="180404"/>
                  </a:cubicBezTo>
                  <a:cubicBezTo>
                    <a:pt x="198120" y="178879"/>
                    <a:pt x="196596" y="188690"/>
                    <a:pt x="189643" y="189548"/>
                  </a:cubicBezTo>
                  <a:cubicBezTo>
                    <a:pt x="187643" y="189833"/>
                    <a:pt x="187928" y="195453"/>
                    <a:pt x="185642" y="198025"/>
                  </a:cubicBezTo>
                  <a:cubicBezTo>
                    <a:pt x="184499" y="199358"/>
                    <a:pt x="184499" y="201549"/>
                    <a:pt x="182690" y="202597"/>
                  </a:cubicBezTo>
                  <a:cubicBezTo>
                    <a:pt x="182690" y="201073"/>
                    <a:pt x="182690" y="199549"/>
                    <a:pt x="180689" y="199168"/>
                  </a:cubicBezTo>
                  <a:cubicBezTo>
                    <a:pt x="179451" y="197072"/>
                    <a:pt x="178498" y="194786"/>
                    <a:pt x="176403" y="193453"/>
                  </a:cubicBezTo>
                  <a:cubicBezTo>
                    <a:pt x="176403" y="189262"/>
                    <a:pt x="179642" y="187166"/>
                    <a:pt x="182023" y="184404"/>
                  </a:cubicBezTo>
                  <a:cubicBezTo>
                    <a:pt x="183261" y="182975"/>
                    <a:pt x="186309" y="182499"/>
                    <a:pt x="184880" y="179261"/>
                  </a:cubicBezTo>
                  <a:cubicBezTo>
                    <a:pt x="184404" y="178213"/>
                    <a:pt x="185356" y="178118"/>
                    <a:pt x="186214" y="178879"/>
                  </a:cubicBezTo>
                  <a:cubicBezTo>
                    <a:pt x="187547" y="180023"/>
                    <a:pt x="188023" y="178213"/>
                    <a:pt x="188500" y="177641"/>
                  </a:cubicBezTo>
                  <a:cubicBezTo>
                    <a:pt x="190310" y="175546"/>
                    <a:pt x="189643" y="170879"/>
                    <a:pt x="194500" y="171736"/>
                  </a:cubicBezTo>
                  <a:cubicBezTo>
                    <a:pt x="196787" y="165068"/>
                    <a:pt x="203740" y="162116"/>
                    <a:pt x="207073" y="155829"/>
                  </a:cubicBezTo>
                  <a:cubicBezTo>
                    <a:pt x="209550" y="151257"/>
                    <a:pt x="214408" y="147542"/>
                    <a:pt x="218313" y="143542"/>
                  </a:cubicBezTo>
                  <a:cubicBezTo>
                    <a:pt x="222314" y="139446"/>
                    <a:pt x="225552" y="134874"/>
                    <a:pt x="229267" y="130588"/>
                  </a:cubicBezTo>
                  <a:cubicBezTo>
                    <a:pt x="233553" y="125635"/>
                    <a:pt x="235553" y="119158"/>
                    <a:pt x="240316" y="114871"/>
                  </a:cubicBezTo>
                  <a:cubicBezTo>
                    <a:pt x="243649" y="111823"/>
                    <a:pt x="247078" y="108966"/>
                    <a:pt x="249936" y="105346"/>
                  </a:cubicBezTo>
                  <a:cubicBezTo>
                    <a:pt x="253460" y="100965"/>
                    <a:pt x="257461" y="96869"/>
                    <a:pt x="262795" y="94107"/>
                  </a:cubicBezTo>
                  <a:cubicBezTo>
                    <a:pt x="266795" y="92012"/>
                    <a:pt x="268224" y="86677"/>
                    <a:pt x="272129" y="84201"/>
                  </a:cubicBezTo>
                  <a:cubicBezTo>
                    <a:pt x="274511" y="84582"/>
                    <a:pt x="275749" y="83725"/>
                    <a:pt x="275368" y="81153"/>
                  </a:cubicBezTo>
                  <a:cubicBezTo>
                    <a:pt x="276320" y="81725"/>
                    <a:pt x="278035" y="79915"/>
                    <a:pt x="278320" y="81820"/>
                  </a:cubicBezTo>
                  <a:cubicBezTo>
                    <a:pt x="278511" y="83153"/>
                    <a:pt x="279083" y="85249"/>
                    <a:pt x="277273" y="85916"/>
                  </a:cubicBezTo>
                  <a:cubicBezTo>
                    <a:pt x="271653" y="88106"/>
                    <a:pt x="270034" y="94012"/>
                    <a:pt x="266319" y="97917"/>
                  </a:cubicBezTo>
                  <a:cubicBezTo>
                    <a:pt x="262890" y="101537"/>
                    <a:pt x="259651" y="105632"/>
                    <a:pt x="256889" y="109728"/>
                  </a:cubicBezTo>
                  <a:cubicBezTo>
                    <a:pt x="253651" y="114300"/>
                    <a:pt x="249841" y="118491"/>
                    <a:pt x="247174" y="123349"/>
                  </a:cubicBezTo>
                  <a:cubicBezTo>
                    <a:pt x="245936" y="123635"/>
                    <a:pt x="245459" y="124587"/>
                    <a:pt x="245173" y="125730"/>
                  </a:cubicBezTo>
                  <a:cubicBezTo>
                    <a:pt x="242888" y="126016"/>
                    <a:pt x="244793" y="129635"/>
                    <a:pt x="242125" y="129635"/>
                  </a:cubicBezTo>
                  <a:cubicBezTo>
                    <a:pt x="242125" y="128969"/>
                    <a:pt x="242125" y="128016"/>
                    <a:pt x="241268" y="128397"/>
                  </a:cubicBezTo>
                  <a:cubicBezTo>
                    <a:pt x="239363" y="129254"/>
                    <a:pt x="241268" y="130778"/>
                    <a:pt x="240887" y="131921"/>
                  </a:cubicBezTo>
                  <a:cubicBezTo>
                    <a:pt x="233744" y="135636"/>
                    <a:pt x="232886" y="143923"/>
                    <a:pt x="228314" y="149257"/>
                  </a:cubicBezTo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7DEC486F-5F10-0A25-DEB6-95339F099A20}"/>
                </a:ext>
              </a:extLst>
            </p:cNvPr>
            <p:cNvSpPr/>
            <p:nvPr/>
          </p:nvSpPr>
          <p:spPr>
            <a:xfrm>
              <a:off x="11226339" y="6219846"/>
              <a:ext cx="512041" cy="776474"/>
            </a:xfrm>
            <a:custGeom>
              <a:avLst/>
              <a:gdLst>
                <a:gd name="connsiteX0" fmla="*/ 468035 w 512041"/>
                <a:gd name="connsiteY0" fmla="*/ 583116 h 776474"/>
                <a:gd name="connsiteX1" fmla="*/ 467945 w 512041"/>
                <a:gd name="connsiteY1" fmla="*/ 583143 h 776474"/>
                <a:gd name="connsiteX2" fmla="*/ 468894 w 512041"/>
                <a:gd name="connsiteY2" fmla="*/ 588831 h 776474"/>
                <a:gd name="connsiteX3" fmla="*/ 467101 w 512041"/>
                <a:gd name="connsiteY3" fmla="*/ 585493 h 776474"/>
                <a:gd name="connsiteX4" fmla="*/ 468893 w 512041"/>
                <a:gd name="connsiteY4" fmla="*/ 588831 h 776474"/>
                <a:gd name="connsiteX5" fmla="*/ 468894 w 512041"/>
                <a:gd name="connsiteY5" fmla="*/ 588831 h 776474"/>
                <a:gd name="connsiteX6" fmla="*/ 468988 w 512041"/>
                <a:gd name="connsiteY6" fmla="*/ 588831 h 776474"/>
                <a:gd name="connsiteX7" fmla="*/ 468035 w 512041"/>
                <a:gd name="connsiteY7" fmla="*/ 583116 h 776474"/>
                <a:gd name="connsiteX8" fmla="*/ 457368 w 512041"/>
                <a:gd name="connsiteY8" fmla="*/ 573019 h 776474"/>
                <a:gd name="connsiteX9" fmla="*/ 449843 w 512041"/>
                <a:gd name="connsiteY9" fmla="*/ 576162 h 776474"/>
                <a:gd name="connsiteX10" fmla="*/ 449844 w 512041"/>
                <a:gd name="connsiteY10" fmla="*/ 576163 h 776474"/>
                <a:gd name="connsiteX11" fmla="*/ 453142 w 512041"/>
                <a:gd name="connsiteY11" fmla="*/ 574128 h 776474"/>
                <a:gd name="connsiteX12" fmla="*/ 457368 w 512041"/>
                <a:gd name="connsiteY12" fmla="*/ 573020 h 776474"/>
                <a:gd name="connsiteX13" fmla="*/ 251628 w 512041"/>
                <a:gd name="connsiteY13" fmla="*/ 544349 h 776474"/>
                <a:gd name="connsiteX14" fmla="*/ 250675 w 512041"/>
                <a:gd name="connsiteY14" fmla="*/ 552255 h 776474"/>
                <a:gd name="connsiteX15" fmla="*/ 250676 w 512041"/>
                <a:gd name="connsiteY15" fmla="*/ 552253 h 776474"/>
                <a:gd name="connsiteX16" fmla="*/ 50174 w 512041"/>
                <a:gd name="connsiteY16" fmla="*/ 541301 h 776474"/>
                <a:gd name="connsiteX17" fmla="*/ 51222 w 512041"/>
                <a:gd name="connsiteY17" fmla="*/ 547111 h 776474"/>
                <a:gd name="connsiteX18" fmla="*/ 50174 w 512041"/>
                <a:gd name="connsiteY18" fmla="*/ 541301 h 776474"/>
                <a:gd name="connsiteX19" fmla="*/ 447843 w 512041"/>
                <a:gd name="connsiteY19" fmla="*/ 531204 h 776474"/>
                <a:gd name="connsiteX20" fmla="*/ 447843 w 512041"/>
                <a:gd name="connsiteY20" fmla="*/ 538443 h 776474"/>
                <a:gd name="connsiteX21" fmla="*/ 447938 w 512041"/>
                <a:gd name="connsiteY21" fmla="*/ 538090 h 776474"/>
                <a:gd name="connsiteX22" fmla="*/ 447938 w 512041"/>
                <a:gd name="connsiteY22" fmla="*/ 531653 h 776474"/>
                <a:gd name="connsiteX23" fmla="*/ 373738 w 512041"/>
                <a:gd name="connsiteY23" fmla="*/ 497391 h 776474"/>
                <a:gd name="connsiteX24" fmla="*/ 371547 w 512041"/>
                <a:gd name="connsiteY24" fmla="*/ 499581 h 776474"/>
                <a:gd name="connsiteX25" fmla="*/ 372404 w 512041"/>
                <a:gd name="connsiteY25" fmla="*/ 502534 h 776474"/>
                <a:gd name="connsiteX26" fmla="*/ 372404 w 512041"/>
                <a:gd name="connsiteY26" fmla="*/ 502629 h 776474"/>
                <a:gd name="connsiteX27" fmla="*/ 374976 w 512041"/>
                <a:gd name="connsiteY27" fmla="*/ 499391 h 776474"/>
                <a:gd name="connsiteX28" fmla="*/ 374952 w 512041"/>
                <a:gd name="connsiteY28" fmla="*/ 499351 h 776474"/>
                <a:gd name="connsiteX29" fmla="*/ 372500 w 512041"/>
                <a:gd name="connsiteY29" fmla="*/ 502439 h 776474"/>
                <a:gd name="connsiteX30" fmla="*/ 371643 w 512041"/>
                <a:gd name="connsiteY30" fmla="*/ 499486 h 776474"/>
                <a:gd name="connsiteX31" fmla="*/ 373738 w 512041"/>
                <a:gd name="connsiteY31" fmla="*/ 497391 h 776474"/>
                <a:gd name="connsiteX32" fmla="*/ 359260 w 512041"/>
                <a:gd name="connsiteY32" fmla="*/ 480341 h 776474"/>
                <a:gd name="connsiteX33" fmla="*/ 357164 w 512041"/>
                <a:gd name="connsiteY33" fmla="*/ 481674 h 776474"/>
                <a:gd name="connsiteX34" fmla="*/ 361070 w 512041"/>
                <a:gd name="connsiteY34" fmla="*/ 486532 h 776474"/>
                <a:gd name="connsiteX35" fmla="*/ 361165 w 512041"/>
                <a:gd name="connsiteY35" fmla="*/ 486532 h 776474"/>
                <a:gd name="connsiteX36" fmla="*/ 357260 w 512041"/>
                <a:gd name="connsiteY36" fmla="*/ 481675 h 776474"/>
                <a:gd name="connsiteX37" fmla="*/ 359276 w 512041"/>
                <a:gd name="connsiteY37" fmla="*/ 480391 h 776474"/>
                <a:gd name="connsiteX38" fmla="*/ 351354 w 512041"/>
                <a:gd name="connsiteY38" fmla="*/ 471959 h 776474"/>
                <a:gd name="connsiteX39" fmla="*/ 348592 w 512041"/>
                <a:gd name="connsiteY39" fmla="*/ 473769 h 776474"/>
                <a:gd name="connsiteX40" fmla="*/ 351450 w 512041"/>
                <a:gd name="connsiteY40" fmla="*/ 476817 h 776474"/>
                <a:gd name="connsiteX41" fmla="*/ 351578 w 512041"/>
                <a:gd name="connsiteY41" fmla="*/ 476750 h 776474"/>
                <a:gd name="connsiteX42" fmla="*/ 348783 w 512041"/>
                <a:gd name="connsiteY42" fmla="*/ 473769 h 776474"/>
                <a:gd name="connsiteX43" fmla="*/ 351413 w 512041"/>
                <a:gd name="connsiteY43" fmla="*/ 472045 h 776474"/>
                <a:gd name="connsiteX44" fmla="*/ 76273 w 512041"/>
                <a:gd name="connsiteY44" fmla="*/ 434145 h 776474"/>
                <a:gd name="connsiteX45" fmla="*/ 87131 w 512041"/>
                <a:gd name="connsiteY45" fmla="*/ 444242 h 776474"/>
                <a:gd name="connsiteX46" fmla="*/ 87417 w 512041"/>
                <a:gd name="connsiteY46" fmla="*/ 444242 h 776474"/>
                <a:gd name="connsiteX47" fmla="*/ 87703 w 512041"/>
                <a:gd name="connsiteY47" fmla="*/ 465482 h 776474"/>
                <a:gd name="connsiteX48" fmla="*/ 80559 w 512041"/>
                <a:gd name="connsiteY48" fmla="*/ 489199 h 776474"/>
                <a:gd name="connsiteX49" fmla="*/ 76273 w 512041"/>
                <a:gd name="connsiteY49" fmla="*/ 497772 h 776474"/>
                <a:gd name="connsiteX50" fmla="*/ 76844 w 512041"/>
                <a:gd name="connsiteY50" fmla="*/ 500629 h 776474"/>
                <a:gd name="connsiteX51" fmla="*/ 73891 w 512041"/>
                <a:gd name="connsiteY51" fmla="*/ 507488 h 776474"/>
                <a:gd name="connsiteX52" fmla="*/ 71510 w 512041"/>
                <a:gd name="connsiteY52" fmla="*/ 511202 h 776474"/>
                <a:gd name="connsiteX53" fmla="*/ 63033 w 512041"/>
                <a:gd name="connsiteY53" fmla="*/ 525299 h 776474"/>
                <a:gd name="connsiteX54" fmla="*/ 50269 w 512041"/>
                <a:gd name="connsiteY54" fmla="*/ 541206 h 776474"/>
                <a:gd name="connsiteX55" fmla="*/ 49412 w 512041"/>
                <a:gd name="connsiteY55" fmla="*/ 541587 h 776474"/>
                <a:gd name="connsiteX56" fmla="*/ 32267 w 512041"/>
                <a:gd name="connsiteY56" fmla="*/ 570257 h 776474"/>
                <a:gd name="connsiteX57" fmla="*/ 29314 w 512041"/>
                <a:gd name="connsiteY57" fmla="*/ 573686 h 776474"/>
                <a:gd name="connsiteX58" fmla="*/ 21028 w 512041"/>
                <a:gd name="connsiteY58" fmla="*/ 579497 h 776474"/>
                <a:gd name="connsiteX59" fmla="*/ 9979 w 512041"/>
                <a:gd name="connsiteY59" fmla="*/ 569400 h 776474"/>
                <a:gd name="connsiteX60" fmla="*/ 11979 w 512041"/>
                <a:gd name="connsiteY60" fmla="*/ 548064 h 776474"/>
                <a:gd name="connsiteX61" fmla="*/ 15408 w 512041"/>
                <a:gd name="connsiteY61" fmla="*/ 520061 h 776474"/>
                <a:gd name="connsiteX62" fmla="*/ 26933 w 512041"/>
                <a:gd name="connsiteY62" fmla="*/ 491581 h 776474"/>
                <a:gd name="connsiteX63" fmla="*/ 37506 w 512041"/>
                <a:gd name="connsiteY63" fmla="*/ 476626 h 776474"/>
                <a:gd name="connsiteX64" fmla="*/ 54651 w 512041"/>
                <a:gd name="connsiteY64" fmla="*/ 452623 h 776474"/>
                <a:gd name="connsiteX65" fmla="*/ 65890 w 512041"/>
                <a:gd name="connsiteY65" fmla="*/ 441479 h 776474"/>
                <a:gd name="connsiteX66" fmla="*/ 76273 w 512041"/>
                <a:gd name="connsiteY66" fmla="*/ 434145 h 776474"/>
                <a:gd name="connsiteX67" fmla="*/ 337484 w 512041"/>
                <a:gd name="connsiteY67" fmla="*/ 428358 h 776474"/>
                <a:gd name="connsiteX68" fmla="*/ 340591 w 512041"/>
                <a:gd name="connsiteY68" fmla="*/ 431668 h 776474"/>
                <a:gd name="connsiteX69" fmla="*/ 348687 w 512041"/>
                <a:gd name="connsiteY69" fmla="*/ 432906 h 776474"/>
                <a:gd name="connsiteX70" fmla="*/ 350021 w 512041"/>
                <a:gd name="connsiteY70" fmla="*/ 431859 h 776474"/>
                <a:gd name="connsiteX71" fmla="*/ 363260 w 512041"/>
                <a:gd name="connsiteY71" fmla="*/ 440431 h 776474"/>
                <a:gd name="connsiteX72" fmla="*/ 370214 w 512041"/>
                <a:gd name="connsiteY72" fmla="*/ 448623 h 776474"/>
                <a:gd name="connsiteX73" fmla="*/ 381453 w 512041"/>
                <a:gd name="connsiteY73" fmla="*/ 462720 h 776474"/>
                <a:gd name="connsiteX74" fmla="*/ 383739 w 512041"/>
                <a:gd name="connsiteY74" fmla="*/ 465482 h 776474"/>
                <a:gd name="connsiteX75" fmla="*/ 410600 w 512041"/>
                <a:gd name="connsiteY75" fmla="*/ 489009 h 776474"/>
                <a:gd name="connsiteX76" fmla="*/ 414314 w 512041"/>
                <a:gd name="connsiteY76" fmla="*/ 496248 h 776474"/>
                <a:gd name="connsiteX77" fmla="*/ 422220 w 512041"/>
                <a:gd name="connsiteY77" fmla="*/ 502058 h 776474"/>
                <a:gd name="connsiteX78" fmla="*/ 428602 w 512041"/>
                <a:gd name="connsiteY78" fmla="*/ 507487 h 776474"/>
                <a:gd name="connsiteX79" fmla="*/ 454796 w 512041"/>
                <a:gd name="connsiteY79" fmla="*/ 529395 h 776474"/>
                <a:gd name="connsiteX80" fmla="*/ 458987 w 512041"/>
                <a:gd name="connsiteY80" fmla="*/ 535586 h 776474"/>
                <a:gd name="connsiteX81" fmla="*/ 466893 w 512041"/>
                <a:gd name="connsiteY81" fmla="*/ 542730 h 776474"/>
                <a:gd name="connsiteX82" fmla="*/ 466797 w 512041"/>
                <a:gd name="connsiteY82" fmla="*/ 542730 h 776474"/>
                <a:gd name="connsiteX83" fmla="*/ 469560 w 512041"/>
                <a:gd name="connsiteY83" fmla="*/ 543777 h 776474"/>
                <a:gd name="connsiteX84" fmla="*/ 478989 w 512041"/>
                <a:gd name="connsiteY84" fmla="*/ 582354 h 776474"/>
                <a:gd name="connsiteX85" fmla="*/ 476227 w 512041"/>
                <a:gd name="connsiteY85" fmla="*/ 600832 h 776474"/>
                <a:gd name="connsiteX86" fmla="*/ 473274 w 512041"/>
                <a:gd name="connsiteY86" fmla="*/ 602642 h 776474"/>
                <a:gd name="connsiteX87" fmla="*/ 445461 w 512041"/>
                <a:gd name="connsiteY87" fmla="*/ 596070 h 776474"/>
                <a:gd name="connsiteX88" fmla="*/ 433269 w 512041"/>
                <a:gd name="connsiteY88" fmla="*/ 591117 h 776474"/>
                <a:gd name="connsiteX89" fmla="*/ 417362 w 512041"/>
                <a:gd name="connsiteY89" fmla="*/ 577305 h 776474"/>
                <a:gd name="connsiteX90" fmla="*/ 414886 w 512041"/>
                <a:gd name="connsiteY90" fmla="*/ 574734 h 776474"/>
                <a:gd name="connsiteX91" fmla="*/ 405171 w 512041"/>
                <a:gd name="connsiteY91" fmla="*/ 568257 h 776474"/>
                <a:gd name="connsiteX92" fmla="*/ 390121 w 512041"/>
                <a:gd name="connsiteY92" fmla="*/ 554350 h 776474"/>
                <a:gd name="connsiteX93" fmla="*/ 378215 w 512041"/>
                <a:gd name="connsiteY93" fmla="*/ 542634 h 776474"/>
                <a:gd name="connsiteX94" fmla="*/ 355545 w 512041"/>
                <a:gd name="connsiteY94" fmla="*/ 511297 h 776474"/>
                <a:gd name="connsiteX95" fmla="*/ 337924 w 512041"/>
                <a:gd name="connsiteY95" fmla="*/ 491390 h 776474"/>
                <a:gd name="connsiteX96" fmla="*/ 329447 w 512041"/>
                <a:gd name="connsiteY96" fmla="*/ 472054 h 776474"/>
                <a:gd name="connsiteX97" fmla="*/ 331066 w 512041"/>
                <a:gd name="connsiteY97" fmla="*/ 468244 h 776474"/>
                <a:gd name="connsiteX98" fmla="*/ 330971 w 512041"/>
                <a:gd name="connsiteY98" fmla="*/ 465958 h 776474"/>
                <a:gd name="connsiteX99" fmla="*/ 329733 w 512041"/>
                <a:gd name="connsiteY99" fmla="*/ 463101 h 776474"/>
                <a:gd name="connsiteX100" fmla="*/ 331542 w 512041"/>
                <a:gd name="connsiteY100" fmla="*/ 440336 h 776474"/>
                <a:gd name="connsiteX101" fmla="*/ 334304 w 512041"/>
                <a:gd name="connsiteY101" fmla="*/ 431478 h 776474"/>
                <a:gd name="connsiteX102" fmla="*/ 337484 w 512041"/>
                <a:gd name="connsiteY102" fmla="*/ 428358 h 776474"/>
                <a:gd name="connsiteX103" fmla="*/ 307445 w 512041"/>
                <a:gd name="connsiteY103" fmla="*/ 252503 h 776474"/>
                <a:gd name="connsiteX104" fmla="*/ 307540 w 512041"/>
                <a:gd name="connsiteY104" fmla="*/ 252503 h 776474"/>
                <a:gd name="connsiteX105" fmla="*/ 307505 w 512041"/>
                <a:gd name="connsiteY105" fmla="*/ 252555 h 776474"/>
                <a:gd name="connsiteX106" fmla="*/ 307444 w 512041"/>
                <a:gd name="connsiteY106" fmla="*/ 252218 h 776474"/>
                <a:gd name="connsiteX107" fmla="*/ 305920 w 512041"/>
                <a:gd name="connsiteY107" fmla="*/ 254599 h 776474"/>
                <a:gd name="connsiteX108" fmla="*/ 306068 w 512041"/>
                <a:gd name="connsiteY108" fmla="*/ 254711 h 776474"/>
                <a:gd name="connsiteX109" fmla="*/ 307505 w 512041"/>
                <a:gd name="connsiteY109" fmla="*/ 252555 h 776474"/>
                <a:gd name="connsiteX110" fmla="*/ 309672 w 512041"/>
                <a:gd name="connsiteY110" fmla="*/ 254452 h 776474"/>
                <a:gd name="connsiteX111" fmla="*/ 309730 w 512041"/>
                <a:gd name="connsiteY111" fmla="*/ 254218 h 776474"/>
                <a:gd name="connsiteX112" fmla="*/ 307444 w 512041"/>
                <a:gd name="connsiteY112" fmla="*/ 252218 h 776474"/>
                <a:gd name="connsiteX113" fmla="*/ 227148 w 512041"/>
                <a:gd name="connsiteY113" fmla="*/ 202307 h 776474"/>
                <a:gd name="connsiteX114" fmla="*/ 225625 w 512041"/>
                <a:gd name="connsiteY114" fmla="*/ 207641 h 776474"/>
                <a:gd name="connsiteX115" fmla="*/ 215528 w 512041"/>
                <a:gd name="connsiteY115" fmla="*/ 246122 h 776474"/>
                <a:gd name="connsiteX116" fmla="*/ 206860 w 512041"/>
                <a:gd name="connsiteY116" fmla="*/ 272982 h 776474"/>
                <a:gd name="connsiteX117" fmla="*/ 198383 w 512041"/>
                <a:gd name="connsiteY117" fmla="*/ 290699 h 776474"/>
                <a:gd name="connsiteX118" fmla="*/ 196192 w 512041"/>
                <a:gd name="connsiteY118" fmla="*/ 294128 h 776474"/>
                <a:gd name="connsiteX119" fmla="*/ 182667 w 512041"/>
                <a:gd name="connsiteY119" fmla="*/ 305367 h 776474"/>
                <a:gd name="connsiteX120" fmla="*/ 182667 w 512041"/>
                <a:gd name="connsiteY120" fmla="*/ 311844 h 776474"/>
                <a:gd name="connsiteX121" fmla="*/ 192382 w 512041"/>
                <a:gd name="connsiteY121" fmla="*/ 324131 h 776474"/>
                <a:gd name="connsiteX122" fmla="*/ 204003 w 512041"/>
                <a:gd name="connsiteY122" fmla="*/ 363946 h 776474"/>
                <a:gd name="connsiteX123" fmla="*/ 215528 w 512041"/>
                <a:gd name="connsiteY123" fmla="*/ 439384 h 776474"/>
                <a:gd name="connsiteX124" fmla="*/ 222100 w 512041"/>
                <a:gd name="connsiteY124" fmla="*/ 409475 h 776474"/>
                <a:gd name="connsiteX125" fmla="*/ 221148 w 512041"/>
                <a:gd name="connsiteY125" fmla="*/ 389282 h 776474"/>
                <a:gd name="connsiteX126" fmla="*/ 228958 w 512041"/>
                <a:gd name="connsiteY126" fmla="*/ 363184 h 776474"/>
                <a:gd name="connsiteX127" fmla="*/ 239626 w 512041"/>
                <a:gd name="connsiteY127" fmla="*/ 328037 h 776474"/>
                <a:gd name="connsiteX128" fmla="*/ 243627 w 512041"/>
                <a:gd name="connsiteY128" fmla="*/ 318512 h 776474"/>
                <a:gd name="connsiteX129" fmla="*/ 252390 w 512041"/>
                <a:gd name="connsiteY129" fmla="*/ 311177 h 776474"/>
                <a:gd name="connsiteX130" fmla="*/ 260677 w 512041"/>
                <a:gd name="connsiteY130" fmla="*/ 304891 h 776474"/>
                <a:gd name="connsiteX131" fmla="*/ 265820 w 512041"/>
                <a:gd name="connsiteY131" fmla="*/ 313368 h 776474"/>
                <a:gd name="connsiteX132" fmla="*/ 271630 w 512041"/>
                <a:gd name="connsiteY132" fmla="*/ 308034 h 776474"/>
                <a:gd name="connsiteX133" fmla="*/ 273345 w 512041"/>
                <a:gd name="connsiteY133" fmla="*/ 306891 h 776474"/>
                <a:gd name="connsiteX134" fmla="*/ 279155 w 512041"/>
                <a:gd name="connsiteY134" fmla="*/ 304986 h 776474"/>
                <a:gd name="connsiteX135" fmla="*/ 292490 w 512041"/>
                <a:gd name="connsiteY135" fmla="*/ 300605 h 776474"/>
                <a:gd name="connsiteX136" fmla="*/ 292490 w 512041"/>
                <a:gd name="connsiteY136" fmla="*/ 300509 h 776474"/>
                <a:gd name="connsiteX137" fmla="*/ 306587 w 512041"/>
                <a:gd name="connsiteY137" fmla="*/ 296795 h 776474"/>
                <a:gd name="connsiteX138" fmla="*/ 290109 w 512041"/>
                <a:gd name="connsiteY138" fmla="*/ 283650 h 776474"/>
                <a:gd name="connsiteX139" fmla="*/ 271249 w 512041"/>
                <a:gd name="connsiteY139" fmla="*/ 268220 h 776474"/>
                <a:gd name="connsiteX140" fmla="*/ 264391 w 512041"/>
                <a:gd name="connsiteY140" fmla="*/ 262505 h 776474"/>
                <a:gd name="connsiteX141" fmla="*/ 256485 w 512041"/>
                <a:gd name="connsiteY141" fmla="*/ 256504 h 776474"/>
                <a:gd name="connsiteX142" fmla="*/ 241817 w 512041"/>
                <a:gd name="connsiteY142" fmla="*/ 238216 h 776474"/>
                <a:gd name="connsiteX143" fmla="*/ 239341 w 512041"/>
                <a:gd name="connsiteY143" fmla="*/ 228881 h 776474"/>
                <a:gd name="connsiteX144" fmla="*/ 237912 w 512041"/>
                <a:gd name="connsiteY144" fmla="*/ 226595 h 776474"/>
                <a:gd name="connsiteX145" fmla="*/ 230673 w 512041"/>
                <a:gd name="connsiteY145" fmla="*/ 218273 h 776474"/>
                <a:gd name="connsiteX146" fmla="*/ 227460 w 512041"/>
                <a:gd name="connsiteY146" fmla="*/ 207822 h 776474"/>
                <a:gd name="connsiteX147" fmla="*/ 227435 w 512041"/>
                <a:gd name="connsiteY147" fmla="*/ 207831 h 776474"/>
                <a:gd name="connsiteX148" fmla="*/ 227435 w 512041"/>
                <a:gd name="connsiteY148" fmla="*/ 207739 h 776474"/>
                <a:gd name="connsiteX149" fmla="*/ 227434 w 512041"/>
                <a:gd name="connsiteY149" fmla="*/ 207736 h 776474"/>
                <a:gd name="connsiteX150" fmla="*/ 225625 w 512041"/>
                <a:gd name="connsiteY150" fmla="*/ 207736 h 776474"/>
                <a:gd name="connsiteX151" fmla="*/ 227149 w 512041"/>
                <a:gd name="connsiteY151" fmla="*/ 202402 h 776474"/>
                <a:gd name="connsiteX152" fmla="*/ 230893 w 512041"/>
                <a:gd name="connsiteY152" fmla="*/ 206520 h 776474"/>
                <a:gd name="connsiteX153" fmla="*/ 230958 w 512041"/>
                <a:gd name="connsiteY153" fmla="*/ 206498 h 776474"/>
                <a:gd name="connsiteX154" fmla="*/ 227148 w 512041"/>
                <a:gd name="connsiteY154" fmla="*/ 202307 h 776474"/>
                <a:gd name="connsiteX155" fmla="*/ 369030 w 512041"/>
                <a:gd name="connsiteY155" fmla="*/ 114657 h 776474"/>
                <a:gd name="connsiteX156" fmla="*/ 369595 w 512041"/>
                <a:gd name="connsiteY156" fmla="*/ 117844 h 776474"/>
                <a:gd name="connsiteX157" fmla="*/ 372426 w 512041"/>
                <a:gd name="connsiteY157" fmla="*/ 120014 h 776474"/>
                <a:gd name="connsiteX158" fmla="*/ 370977 w 512041"/>
                <a:gd name="connsiteY158" fmla="*/ 112010 h 776474"/>
                <a:gd name="connsiteX159" fmla="*/ 370662 w 512041"/>
                <a:gd name="connsiteY159" fmla="*/ 112270 h 776474"/>
                <a:gd name="connsiteX160" fmla="*/ 372693 w 512041"/>
                <a:gd name="connsiteY160" fmla="*/ 120219 h 776474"/>
                <a:gd name="connsiteX161" fmla="*/ 373167 w 512041"/>
                <a:gd name="connsiteY161" fmla="*/ 120582 h 776474"/>
                <a:gd name="connsiteX162" fmla="*/ 370977 w 512041"/>
                <a:gd name="connsiteY162" fmla="*/ 112010 h 776474"/>
                <a:gd name="connsiteX163" fmla="*/ 442402 w 512041"/>
                <a:gd name="connsiteY163" fmla="*/ 19082 h 776474"/>
                <a:gd name="connsiteX164" fmla="*/ 449844 w 512041"/>
                <a:gd name="connsiteY164" fmla="*/ 19427 h 776474"/>
                <a:gd name="connsiteX165" fmla="*/ 450606 w 512041"/>
                <a:gd name="connsiteY165" fmla="*/ 27333 h 776474"/>
                <a:gd name="connsiteX166" fmla="*/ 444129 w 512041"/>
                <a:gd name="connsiteY166" fmla="*/ 67052 h 776474"/>
                <a:gd name="connsiteX167" fmla="*/ 434889 w 512041"/>
                <a:gd name="connsiteY167" fmla="*/ 85530 h 776474"/>
                <a:gd name="connsiteX168" fmla="*/ 417649 w 512041"/>
                <a:gd name="connsiteY168" fmla="*/ 108200 h 776474"/>
                <a:gd name="connsiteX169" fmla="*/ 403552 w 512041"/>
                <a:gd name="connsiteY169" fmla="*/ 116963 h 776474"/>
                <a:gd name="connsiteX170" fmla="*/ 390408 w 512041"/>
                <a:gd name="connsiteY170" fmla="*/ 127440 h 776474"/>
                <a:gd name="connsiteX171" fmla="*/ 369262 w 512041"/>
                <a:gd name="connsiteY171" fmla="*/ 132298 h 776474"/>
                <a:gd name="connsiteX172" fmla="*/ 369548 w 512041"/>
                <a:gd name="connsiteY172" fmla="*/ 132298 h 776474"/>
                <a:gd name="connsiteX173" fmla="*/ 361547 w 512041"/>
                <a:gd name="connsiteY173" fmla="*/ 129536 h 776474"/>
                <a:gd name="connsiteX174" fmla="*/ 366690 w 512041"/>
                <a:gd name="connsiteY174" fmla="*/ 107914 h 776474"/>
                <a:gd name="connsiteX175" fmla="*/ 376406 w 512041"/>
                <a:gd name="connsiteY175" fmla="*/ 96484 h 776474"/>
                <a:gd name="connsiteX176" fmla="*/ 376787 w 512041"/>
                <a:gd name="connsiteY176" fmla="*/ 93531 h 776474"/>
                <a:gd name="connsiteX177" fmla="*/ 376787 w 512041"/>
                <a:gd name="connsiteY177" fmla="*/ 84578 h 776474"/>
                <a:gd name="connsiteX178" fmla="*/ 397075 w 512041"/>
                <a:gd name="connsiteY178" fmla="*/ 53717 h 776474"/>
                <a:gd name="connsiteX179" fmla="*/ 405362 w 512041"/>
                <a:gd name="connsiteY179" fmla="*/ 50193 h 776474"/>
                <a:gd name="connsiteX180" fmla="*/ 410220 w 512041"/>
                <a:gd name="connsiteY180" fmla="*/ 45621 h 776474"/>
                <a:gd name="connsiteX181" fmla="*/ 417363 w 512041"/>
                <a:gd name="connsiteY181" fmla="*/ 41144 h 776474"/>
                <a:gd name="connsiteX182" fmla="*/ 419268 w 512041"/>
                <a:gd name="connsiteY182" fmla="*/ 39239 h 776474"/>
                <a:gd name="connsiteX183" fmla="*/ 435747 w 512041"/>
                <a:gd name="connsiteY183" fmla="*/ 20094 h 776474"/>
                <a:gd name="connsiteX184" fmla="*/ 442402 w 512041"/>
                <a:gd name="connsiteY184" fmla="*/ 19082 h 776474"/>
                <a:gd name="connsiteX185" fmla="*/ 78559 w 512041"/>
                <a:gd name="connsiteY185" fmla="*/ 12568 h 776474"/>
                <a:gd name="connsiteX186" fmla="*/ 84560 w 512041"/>
                <a:gd name="connsiteY186" fmla="*/ 22569 h 776474"/>
                <a:gd name="connsiteX187" fmla="*/ 86465 w 512041"/>
                <a:gd name="connsiteY187" fmla="*/ 26284 h 776474"/>
                <a:gd name="connsiteX188" fmla="*/ 86465 w 512041"/>
                <a:gd name="connsiteY188" fmla="*/ 26570 h 776474"/>
                <a:gd name="connsiteX189" fmla="*/ 86560 w 512041"/>
                <a:gd name="connsiteY189" fmla="*/ 26570 h 776474"/>
                <a:gd name="connsiteX190" fmla="*/ 87036 w 512041"/>
                <a:gd name="connsiteY190" fmla="*/ 36762 h 776474"/>
                <a:gd name="connsiteX191" fmla="*/ 87036 w 512041"/>
                <a:gd name="connsiteY191" fmla="*/ 32672 h 776474"/>
                <a:gd name="connsiteX192" fmla="*/ 86751 w 512041"/>
                <a:gd name="connsiteY192" fmla="*/ 26571 h 776474"/>
                <a:gd name="connsiteX193" fmla="*/ 86751 w 512041"/>
                <a:gd name="connsiteY193" fmla="*/ 26570 h 776474"/>
                <a:gd name="connsiteX194" fmla="*/ 86756 w 512041"/>
                <a:gd name="connsiteY194" fmla="*/ 26577 h 776474"/>
                <a:gd name="connsiteX195" fmla="*/ 86878 w 512041"/>
                <a:gd name="connsiteY195" fmla="*/ 26730 h 776474"/>
                <a:gd name="connsiteX196" fmla="*/ 86774 w 512041"/>
                <a:gd name="connsiteY196" fmla="*/ 26522 h 776474"/>
                <a:gd name="connsiteX197" fmla="*/ 86750 w 512041"/>
                <a:gd name="connsiteY197" fmla="*/ 26570 h 776474"/>
                <a:gd name="connsiteX198" fmla="*/ 86750 w 512041"/>
                <a:gd name="connsiteY198" fmla="*/ 26474 h 776474"/>
                <a:gd name="connsiteX199" fmla="*/ 86655 w 512041"/>
                <a:gd name="connsiteY199" fmla="*/ 26284 h 776474"/>
                <a:gd name="connsiteX200" fmla="*/ 86560 w 512041"/>
                <a:gd name="connsiteY200" fmla="*/ 26284 h 776474"/>
                <a:gd name="connsiteX201" fmla="*/ 87132 w 512041"/>
                <a:gd name="connsiteY201" fmla="*/ 21807 h 776474"/>
                <a:gd name="connsiteX202" fmla="*/ 89989 w 512041"/>
                <a:gd name="connsiteY202" fmla="*/ 23427 h 776474"/>
                <a:gd name="connsiteX203" fmla="*/ 94180 w 512041"/>
                <a:gd name="connsiteY203" fmla="*/ 30761 h 776474"/>
                <a:gd name="connsiteX204" fmla="*/ 112087 w 512041"/>
                <a:gd name="connsiteY204" fmla="*/ 53145 h 776474"/>
                <a:gd name="connsiteX205" fmla="*/ 120564 w 512041"/>
                <a:gd name="connsiteY205" fmla="*/ 66861 h 776474"/>
                <a:gd name="connsiteX206" fmla="*/ 126565 w 512041"/>
                <a:gd name="connsiteY206" fmla="*/ 72385 h 776474"/>
                <a:gd name="connsiteX207" fmla="*/ 124851 w 512041"/>
                <a:gd name="connsiteY207" fmla="*/ 113152 h 776474"/>
                <a:gd name="connsiteX208" fmla="*/ 123422 w 512041"/>
                <a:gd name="connsiteY208" fmla="*/ 119153 h 776474"/>
                <a:gd name="connsiteX209" fmla="*/ 124374 w 512041"/>
                <a:gd name="connsiteY209" fmla="*/ 126582 h 776474"/>
                <a:gd name="connsiteX210" fmla="*/ 111135 w 512041"/>
                <a:gd name="connsiteY210" fmla="*/ 126487 h 776474"/>
                <a:gd name="connsiteX211" fmla="*/ 99895 w 512041"/>
                <a:gd name="connsiteY211" fmla="*/ 118200 h 776474"/>
                <a:gd name="connsiteX212" fmla="*/ 93704 w 512041"/>
                <a:gd name="connsiteY212" fmla="*/ 110676 h 776474"/>
                <a:gd name="connsiteX213" fmla="*/ 93609 w 512041"/>
                <a:gd name="connsiteY213" fmla="*/ 110676 h 776474"/>
                <a:gd name="connsiteX214" fmla="*/ 74273 w 512041"/>
                <a:gd name="connsiteY214" fmla="*/ 88387 h 776474"/>
                <a:gd name="connsiteX215" fmla="*/ 59985 w 512041"/>
                <a:gd name="connsiteY215" fmla="*/ 50478 h 776474"/>
                <a:gd name="connsiteX216" fmla="*/ 68844 w 512041"/>
                <a:gd name="connsiteY216" fmla="*/ 19236 h 776474"/>
                <a:gd name="connsiteX217" fmla="*/ 78559 w 512041"/>
                <a:gd name="connsiteY217" fmla="*/ 12568 h 776474"/>
                <a:gd name="connsiteX218" fmla="*/ 236197 w 512041"/>
                <a:gd name="connsiteY218" fmla="*/ 1043 h 776474"/>
                <a:gd name="connsiteX219" fmla="*/ 251914 w 512041"/>
                <a:gd name="connsiteY219" fmla="*/ 25999 h 776474"/>
                <a:gd name="connsiteX220" fmla="*/ 248199 w 512041"/>
                <a:gd name="connsiteY220" fmla="*/ 28761 h 776474"/>
                <a:gd name="connsiteX221" fmla="*/ 249627 w 512041"/>
                <a:gd name="connsiteY221" fmla="*/ 39239 h 776474"/>
                <a:gd name="connsiteX222" fmla="*/ 252295 w 512041"/>
                <a:gd name="connsiteY222" fmla="*/ 42287 h 776474"/>
                <a:gd name="connsiteX223" fmla="*/ 247151 w 512041"/>
                <a:gd name="connsiteY223" fmla="*/ 45335 h 776474"/>
                <a:gd name="connsiteX224" fmla="*/ 250675 w 512041"/>
                <a:gd name="connsiteY224" fmla="*/ 57050 h 776474"/>
                <a:gd name="connsiteX225" fmla="*/ 255057 w 512041"/>
                <a:gd name="connsiteY225" fmla="*/ 82387 h 776474"/>
                <a:gd name="connsiteX226" fmla="*/ 256771 w 512041"/>
                <a:gd name="connsiteY226" fmla="*/ 93055 h 776474"/>
                <a:gd name="connsiteX227" fmla="*/ 267249 w 512041"/>
                <a:gd name="connsiteY227" fmla="*/ 131345 h 776474"/>
                <a:gd name="connsiteX228" fmla="*/ 269630 w 512041"/>
                <a:gd name="connsiteY228" fmla="*/ 135441 h 776474"/>
                <a:gd name="connsiteX229" fmla="*/ 281250 w 512041"/>
                <a:gd name="connsiteY229" fmla="*/ 156206 h 776474"/>
                <a:gd name="connsiteX230" fmla="*/ 297824 w 512041"/>
                <a:gd name="connsiteY230" fmla="*/ 177446 h 776474"/>
                <a:gd name="connsiteX231" fmla="*/ 316493 w 512041"/>
                <a:gd name="connsiteY231" fmla="*/ 192877 h 776474"/>
                <a:gd name="connsiteX232" fmla="*/ 336019 w 512041"/>
                <a:gd name="connsiteY232" fmla="*/ 206307 h 776474"/>
                <a:gd name="connsiteX233" fmla="*/ 343639 w 512041"/>
                <a:gd name="connsiteY233" fmla="*/ 213546 h 776474"/>
                <a:gd name="connsiteX234" fmla="*/ 345925 w 512041"/>
                <a:gd name="connsiteY234" fmla="*/ 214880 h 776474"/>
                <a:gd name="connsiteX235" fmla="*/ 366214 w 512041"/>
                <a:gd name="connsiteY235" fmla="*/ 220785 h 776474"/>
                <a:gd name="connsiteX236" fmla="*/ 373738 w 512041"/>
                <a:gd name="connsiteY236" fmla="*/ 223071 h 776474"/>
                <a:gd name="connsiteX237" fmla="*/ 384978 w 512041"/>
                <a:gd name="connsiteY237" fmla="*/ 231072 h 776474"/>
                <a:gd name="connsiteX238" fmla="*/ 399170 w 512041"/>
                <a:gd name="connsiteY238" fmla="*/ 235168 h 776474"/>
                <a:gd name="connsiteX239" fmla="*/ 412696 w 512041"/>
                <a:gd name="connsiteY239" fmla="*/ 238787 h 776474"/>
                <a:gd name="connsiteX240" fmla="*/ 425364 w 512041"/>
                <a:gd name="connsiteY240" fmla="*/ 239073 h 776474"/>
                <a:gd name="connsiteX241" fmla="*/ 443175 w 512041"/>
                <a:gd name="connsiteY241" fmla="*/ 243550 h 776474"/>
                <a:gd name="connsiteX242" fmla="*/ 466131 w 512041"/>
                <a:gd name="connsiteY242" fmla="*/ 246693 h 776474"/>
                <a:gd name="connsiteX243" fmla="*/ 484419 w 512041"/>
                <a:gd name="connsiteY243" fmla="*/ 247741 h 776474"/>
                <a:gd name="connsiteX244" fmla="*/ 503278 w 512041"/>
                <a:gd name="connsiteY244" fmla="*/ 268029 h 776474"/>
                <a:gd name="connsiteX245" fmla="*/ 505755 w 512041"/>
                <a:gd name="connsiteY245" fmla="*/ 284603 h 776474"/>
                <a:gd name="connsiteX246" fmla="*/ 512041 w 512041"/>
                <a:gd name="connsiteY246" fmla="*/ 288698 h 776474"/>
                <a:gd name="connsiteX247" fmla="*/ 511851 w 512041"/>
                <a:gd name="connsiteY247" fmla="*/ 288794 h 776474"/>
                <a:gd name="connsiteX248" fmla="*/ 511851 w 512041"/>
                <a:gd name="connsiteY248" fmla="*/ 290699 h 776474"/>
                <a:gd name="connsiteX249" fmla="*/ 509470 w 512041"/>
                <a:gd name="connsiteY249" fmla="*/ 311082 h 776474"/>
                <a:gd name="connsiteX250" fmla="*/ 510898 w 512041"/>
                <a:gd name="connsiteY250" fmla="*/ 315464 h 776474"/>
                <a:gd name="connsiteX251" fmla="*/ 505183 w 512041"/>
                <a:gd name="connsiteY251" fmla="*/ 328322 h 776474"/>
                <a:gd name="connsiteX252" fmla="*/ 505945 w 512041"/>
                <a:gd name="connsiteY252" fmla="*/ 343277 h 776474"/>
                <a:gd name="connsiteX253" fmla="*/ 474798 w 512041"/>
                <a:gd name="connsiteY253" fmla="*/ 366041 h 776474"/>
                <a:gd name="connsiteX254" fmla="*/ 440699 w 512041"/>
                <a:gd name="connsiteY254" fmla="*/ 367946 h 776474"/>
                <a:gd name="connsiteX255" fmla="*/ 423078 w 512041"/>
                <a:gd name="connsiteY255" fmla="*/ 374138 h 776474"/>
                <a:gd name="connsiteX256" fmla="*/ 412124 w 512041"/>
                <a:gd name="connsiteY256" fmla="*/ 374138 h 776474"/>
                <a:gd name="connsiteX257" fmla="*/ 404885 w 512041"/>
                <a:gd name="connsiteY257" fmla="*/ 374995 h 776474"/>
                <a:gd name="connsiteX258" fmla="*/ 365928 w 512041"/>
                <a:gd name="connsiteY258" fmla="*/ 388901 h 776474"/>
                <a:gd name="connsiteX259" fmla="*/ 330114 w 512041"/>
                <a:gd name="connsiteY259" fmla="*/ 395664 h 776474"/>
                <a:gd name="connsiteX260" fmla="*/ 326304 w 512041"/>
                <a:gd name="connsiteY260" fmla="*/ 396045 h 776474"/>
                <a:gd name="connsiteX261" fmla="*/ 300015 w 512041"/>
                <a:gd name="connsiteY261" fmla="*/ 401189 h 776474"/>
                <a:gd name="connsiteX262" fmla="*/ 289442 w 512041"/>
                <a:gd name="connsiteY262" fmla="*/ 401284 h 776474"/>
                <a:gd name="connsiteX263" fmla="*/ 265534 w 512041"/>
                <a:gd name="connsiteY263" fmla="*/ 417667 h 776474"/>
                <a:gd name="connsiteX264" fmla="*/ 262200 w 512041"/>
                <a:gd name="connsiteY264" fmla="*/ 460625 h 776474"/>
                <a:gd name="connsiteX265" fmla="*/ 262772 w 512041"/>
                <a:gd name="connsiteY265" fmla="*/ 481484 h 776474"/>
                <a:gd name="connsiteX266" fmla="*/ 260105 w 512041"/>
                <a:gd name="connsiteY266" fmla="*/ 544445 h 776474"/>
                <a:gd name="connsiteX267" fmla="*/ 253152 w 512041"/>
                <a:gd name="connsiteY267" fmla="*/ 577115 h 776474"/>
                <a:gd name="connsiteX268" fmla="*/ 249627 w 512041"/>
                <a:gd name="connsiteY268" fmla="*/ 620073 h 776474"/>
                <a:gd name="connsiteX269" fmla="*/ 246008 w 512041"/>
                <a:gd name="connsiteY269" fmla="*/ 648553 h 776474"/>
                <a:gd name="connsiteX270" fmla="*/ 244865 w 512041"/>
                <a:gd name="connsiteY270" fmla="*/ 674842 h 776474"/>
                <a:gd name="connsiteX271" fmla="*/ 245056 w 512041"/>
                <a:gd name="connsiteY271" fmla="*/ 714561 h 776474"/>
                <a:gd name="connsiteX272" fmla="*/ 242674 w 512041"/>
                <a:gd name="connsiteY272" fmla="*/ 765425 h 776474"/>
                <a:gd name="connsiteX273" fmla="*/ 234673 w 512041"/>
                <a:gd name="connsiteY273" fmla="*/ 776474 h 776474"/>
                <a:gd name="connsiteX274" fmla="*/ 223339 w 512041"/>
                <a:gd name="connsiteY274" fmla="*/ 776474 h 776474"/>
                <a:gd name="connsiteX275" fmla="*/ 223148 w 512041"/>
                <a:gd name="connsiteY275" fmla="*/ 776474 h 776474"/>
                <a:gd name="connsiteX276" fmla="*/ 213719 w 512041"/>
                <a:gd name="connsiteY276" fmla="*/ 776474 h 776474"/>
                <a:gd name="connsiteX277" fmla="*/ 213528 w 512041"/>
                <a:gd name="connsiteY277" fmla="*/ 776474 h 776474"/>
                <a:gd name="connsiteX278" fmla="*/ 207718 w 512041"/>
                <a:gd name="connsiteY278" fmla="*/ 776474 h 776474"/>
                <a:gd name="connsiteX279" fmla="*/ 196383 w 512041"/>
                <a:gd name="connsiteY279" fmla="*/ 757614 h 776474"/>
                <a:gd name="connsiteX280" fmla="*/ 193144 w 512041"/>
                <a:gd name="connsiteY280" fmla="*/ 750375 h 776474"/>
                <a:gd name="connsiteX281" fmla="*/ 187620 w 512041"/>
                <a:gd name="connsiteY281" fmla="*/ 723419 h 776474"/>
                <a:gd name="connsiteX282" fmla="*/ 185620 w 512041"/>
                <a:gd name="connsiteY282" fmla="*/ 719038 h 776474"/>
                <a:gd name="connsiteX283" fmla="*/ 178857 w 512041"/>
                <a:gd name="connsiteY283" fmla="*/ 663602 h 776474"/>
                <a:gd name="connsiteX284" fmla="*/ 181238 w 512041"/>
                <a:gd name="connsiteY284" fmla="*/ 654744 h 776474"/>
                <a:gd name="connsiteX285" fmla="*/ 180667 w 512041"/>
                <a:gd name="connsiteY285" fmla="*/ 574639 h 776474"/>
                <a:gd name="connsiteX286" fmla="*/ 184286 w 512041"/>
                <a:gd name="connsiteY286" fmla="*/ 558065 h 776474"/>
                <a:gd name="connsiteX287" fmla="*/ 180762 w 512041"/>
                <a:gd name="connsiteY287" fmla="*/ 537110 h 776474"/>
                <a:gd name="connsiteX288" fmla="*/ 179428 w 512041"/>
                <a:gd name="connsiteY288" fmla="*/ 508821 h 776474"/>
                <a:gd name="connsiteX289" fmla="*/ 178095 w 512041"/>
                <a:gd name="connsiteY289" fmla="*/ 487580 h 776474"/>
                <a:gd name="connsiteX290" fmla="*/ 174380 w 512041"/>
                <a:gd name="connsiteY290" fmla="*/ 458624 h 776474"/>
                <a:gd name="connsiteX291" fmla="*/ 170856 w 512041"/>
                <a:gd name="connsiteY291" fmla="*/ 419858 h 776474"/>
                <a:gd name="connsiteX292" fmla="*/ 164760 w 512041"/>
                <a:gd name="connsiteY292" fmla="*/ 397950 h 776474"/>
                <a:gd name="connsiteX293" fmla="*/ 151901 w 512041"/>
                <a:gd name="connsiteY293" fmla="*/ 379853 h 776474"/>
                <a:gd name="connsiteX294" fmla="*/ 144091 w 512041"/>
                <a:gd name="connsiteY294" fmla="*/ 371661 h 776474"/>
                <a:gd name="connsiteX295" fmla="*/ 110848 w 512041"/>
                <a:gd name="connsiteY295" fmla="*/ 364327 h 776474"/>
                <a:gd name="connsiteX296" fmla="*/ 86941 w 512041"/>
                <a:gd name="connsiteY296" fmla="*/ 364041 h 776474"/>
                <a:gd name="connsiteX297" fmla="*/ 74272 w 512041"/>
                <a:gd name="connsiteY297" fmla="*/ 361565 h 776474"/>
                <a:gd name="connsiteX298" fmla="*/ 59032 w 512041"/>
                <a:gd name="connsiteY298" fmla="*/ 360803 h 776474"/>
                <a:gd name="connsiteX299" fmla="*/ 41792 w 512041"/>
                <a:gd name="connsiteY299" fmla="*/ 361184 h 776474"/>
                <a:gd name="connsiteX300" fmla="*/ 38649 w 512041"/>
                <a:gd name="connsiteY300" fmla="*/ 361374 h 776474"/>
                <a:gd name="connsiteX301" fmla="*/ 32362 w 512041"/>
                <a:gd name="connsiteY301" fmla="*/ 361946 h 776474"/>
                <a:gd name="connsiteX302" fmla="*/ 19408 w 512041"/>
                <a:gd name="connsiteY302" fmla="*/ 361374 h 776474"/>
                <a:gd name="connsiteX303" fmla="*/ 930 w 512041"/>
                <a:gd name="connsiteY303" fmla="*/ 347563 h 776474"/>
                <a:gd name="connsiteX304" fmla="*/ 1501 w 512041"/>
                <a:gd name="connsiteY304" fmla="*/ 329465 h 776474"/>
                <a:gd name="connsiteX305" fmla="*/ 7216 w 512041"/>
                <a:gd name="connsiteY305" fmla="*/ 322417 h 776474"/>
                <a:gd name="connsiteX306" fmla="*/ 8740 w 512041"/>
                <a:gd name="connsiteY306" fmla="*/ 320417 h 776474"/>
                <a:gd name="connsiteX307" fmla="*/ 14836 w 512041"/>
                <a:gd name="connsiteY307" fmla="*/ 311844 h 776474"/>
                <a:gd name="connsiteX308" fmla="*/ 7216 w 512041"/>
                <a:gd name="connsiteY308" fmla="*/ 296509 h 776474"/>
                <a:gd name="connsiteX309" fmla="*/ 15408 w 512041"/>
                <a:gd name="connsiteY309" fmla="*/ 280126 h 776474"/>
                <a:gd name="connsiteX310" fmla="*/ 30743 w 512041"/>
                <a:gd name="connsiteY310" fmla="*/ 274316 h 776474"/>
                <a:gd name="connsiteX311" fmla="*/ 48460 w 512041"/>
                <a:gd name="connsiteY311" fmla="*/ 269839 h 776474"/>
                <a:gd name="connsiteX312" fmla="*/ 58556 w 512041"/>
                <a:gd name="connsiteY312" fmla="*/ 274887 h 776474"/>
                <a:gd name="connsiteX313" fmla="*/ 60937 w 512041"/>
                <a:gd name="connsiteY313" fmla="*/ 274030 h 776474"/>
                <a:gd name="connsiteX314" fmla="*/ 70558 w 512041"/>
                <a:gd name="connsiteY314" fmla="*/ 268410 h 776474"/>
                <a:gd name="connsiteX315" fmla="*/ 78749 w 512041"/>
                <a:gd name="connsiteY315" fmla="*/ 265362 h 776474"/>
                <a:gd name="connsiteX316" fmla="*/ 106086 w 512041"/>
                <a:gd name="connsiteY316" fmla="*/ 257361 h 776474"/>
                <a:gd name="connsiteX317" fmla="*/ 124564 w 512041"/>
                <a:gd name="connsiteY317" fmla="*/ 253075 h 776474"/>
                <a:gd name="connsiteX318" fmla="*/ 137233 w 512041"/>
                <a:gd name="connsiteY318" fmla="*/ 243836 h 776474"/>
                <a:gd name="connsiteX319" fmla="*/ 169332 w 512041"/>
                <a:gd name="connsiteY319" fmla="*/ 232310 h 776474"/>
                <a:gd name="connsiteX320" fmla="*/ 173999 w 512041"/>
                <a:gd name="connsiteY320" fmla="*/ 226976 h 776474"/>
                <a:gd name="connsiteX321" fmla="*/ 183905 w 512041"/>
                <a:gd name="connsiteY321" fmla="*/ 222595 h 776474"/>
                <a:gd name="connsiteX322" fmla="*/ 186191 w 512041"/>
                <a:gd name="connsiteY322" fmla="*/ 221833 h 776474"/>
                <a:gd name="connsiteX323" fmla="*/ 204955 w 512041"/>
                <a:gd name="connsiteY323" fmla="*/ 177351 h 776474"/>
                <a:gd name="connsiteX324" fmla="*/ 208003 w 512041"/>
                <a:gd name="connsiteY324" fmla="*/ 105056 h 776474"/>
                <a:gd name="connsiteX325" fmla="*/ 203241 w 512041"/>
                <a:gd name="connsiteY325" fmla="*/ 70766 h 776474"/>
                <a:gd name="connsiteX326" fmla="*/ 207813 w 512041"/>
                <a:gd name="connsiteY326" fmla="*/ 52669 h 776474"/>
                <a:gd name="connsiteX327" fmla="*/ 210194 w 512041"/>
                <a:gd name="connsiteY327" fmla="*/ 39905 h 776474"/>
                <a:gd name="connsiteX328" fmla="*/ 227720 w 512041"/>
                <a:gd name="connsiteY328" fmla="*/ 2567 h 776474"/>
                <a:gd name="connsiteX329" fmla="*/ 236197 w 512041"/>
                <a:gd name="connsiteY329" fmla="*/ 1043 h 77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</a:cxnLst>
              <a:rect l="l" t="t" r="r" b="b"/>
              <a:pathLst>
                <a:path w="512041" h="776474">
                  <a:moveTo>
                    <a:pt x="468035" y="583116"/>
                  </a:moveTo>
                  <a:lnTo>
                    <a:pt x="467945" y="583143"/>
                  </a:lnTo>
                  <a:lnTo>
                    <a:pt x="468894" y="588831"/>
                  </a:lnTo>
                  <a:lnTo>
                    <a:pt x="467101" y="585493"/>
                  </a:lnTo>
                  <a:lnTo>
                    <a:pt x="468893" y="588831"/>
                  </a:lnTo>
                  <a:lnTo>
                    <a:pt x="468894" y="588831"/>
                  </a:lnTo>
                  <a:lnTo>
                    <a:pt x="468988" y="588831"/>
                  </a:lnTo>
                  <a:cubicBezTo>
                    <a:pt x="470322" y="586640"/>
                    <a:pt x="470036" y="584735"/>
                    <a:pt x="468035" y="583116"/>
                  </a:cubicBezTo>
                  <a:close/>
                  <a:moveTo>
                    <a:pt x="457368" y="573019"/>
                  </a:moveTo>
                  <a:cubicBezTo>
                    <a:pt x="455748" y="576924"/>
                    <a:pt x="450224" y="571019"/>
                    <a:pt x="449843" y="576162"/>
                  </a:cubicBezTo>
                  <a:lnTo>
                    <a:pt x="449844" y="576163"/>
                  </a:lnTo>
                  <a:lnTo>
                    <a:pt x="453142" y="574128"/>
                  </a:lnTo>
                  <a:lnTo>
                    <a:pt x="457368" y="573020"/>
                  </a:lnTo>
                  <a:close/>
                  <a:moveTo>
                    <a:pt x="251628" y="544349"/>
                  </a:moveTo>
                  <a:cubicBezTo>
                    <a:pt x="249056" y="546350"/>
                    <a:pt x="250580" y="549207"/>
                    <a:pt x="250675" y="552255"/>
                  </a:cubicBezTo>
                  <a:lnTo>
                    <a:pt x="250676" y="552253"/>
                  </a:lnTo>
                  <a:close/>
                  <a:moveTo>
                    <a:pt x="50174" y="541301"/>
                  </a:moveTo>
                  <a:cubicBezTo>
                    <a:pt x="57032" y="541968"/>
                    <a:pt x="49983" y="545397"/>
                    <a:pt x="51222" y="547111"/>
                  </a:cubicBezTo>
                  <a:cubicBezTo>
                    <a:pt x="49317" y="545397"/>
                    <a:pt x="50460" y="543206"/>
                    <a:pt x="50174" y="541301"/>
                  </a:cubicBezTo>
                  <a:close/>
                  <a:moveTo>
                    <a:pt x="447843" y="531204"/>
                  </a:moveTo>
                  <a:cubicBezTo>
                    <a:pt x="446509" y="534062"/>
                    <a:pt x="446033" y="536157"/>
                    <a:pt x="447843" y="538443"/>
                  </a:cubicBezTo>
                  <a:lnTo>
                    <a:pt x="447938" y="538090"/>
                  </a:lnTo>
                  <a:lnTo>
                    <a:pt x="447938" y="531653"/>
                  </a:lnTo>
                  <a:close/>
                  <a:moveTo>
                    <a:pt x="373738" y="497391"/>
                  </a:moveTo>
                  <a:cubicBezTo>
                    <a:pt x="372119" y="497010"/>
                    <a:pt x="371547" y="498248"/>
                    <a:pt x="371547" y="499581"/>
                  </a:cubicBezTo>
                  <a:cubicBezTo>
                    <a:pt x="371547" y="500343"/>
                    <a:pt x="372024" y="501201"/>
                    <a:pt x="372404" y="502534"/>
                  </a:cubicBezTo>
                  <a:lnTo>
                    <a:pt x="372404" y="502629"/>
                  </a:lnTo>
                  <a:cubicBezTo>
                    <a:pt x="373548" y="501296"/>
                    <a:pt x="374500" y="500439"/>
                    <a:pt x="374976" y="499391"/>
                  </a:cubicBezTo>
                  <a:lnTo>
                    <a:pt x="374952" y="499351"/>
                  </a:lnTo>
                  <a:lnTo>
                    <a:pt x="372500" y="502439"/>
                  </a:lnTo>
                  <a:cubicBezTo>
                    <a:pt x="372024" y="501105"/>
                    <a:pt x="371643" y="500343"/>
                    <a:pt x="371643" y="499486"/>
                  </a:cubicBezTo>
                  <a:lnTo>
                    <a:pt x="373738" y="497391"/>
                  </a:lnTo>
                  <a:close/>
                  <a:moveTo>
                    <a:pt x="359260" y="480341"/>
                  </a:moveTo>
                  <a:cubicBezTo>
                    <a:pt x="358879" y="480150"/>
                    <a:pt x="357164" y="481103"/>
                    <a:pt x="357164" y="481674"/>
                  </a:cubicBezTo>
                  <a:cubicBezTo>
                    <a:pt x="356783" y="484532"/>
                    <a:pt x="359070" y="485389"/>
                    <a:pt x="361070" y="486532"/>
                  </a:cubicBezTo>
                  <a:lnTo>
                    <a:pt x="361165" y="486532"/>
                  </a:lnTo>
                  <a:cubicBezTo>
                    <a:pt x="359165" y="485485"/>
                    <a:pt x="356879" y="484532"/>
                    <a:pt x="357260" y="481675"/>
                  </a:cubicBezTo>
                  <a:lnTo>
                    <a:pt x="359276" y="480391"/>
                  </a:lnTo>
                  <a:close/>
                  <a:moveTo>
                    <a:pt x="351354" y="471959"/>
                  </a:moveTo>
                  <a:cubicBezTo>
                    <a:pt x="350116" y="472054"/>
                    <a:pt x="348592" y="471864"/>
                    <a:pt x="348592" y="473769"/>
                  </a:cubicBezTo>
                  <a:cubicBezTo>
                    <a:pt x="348687" y="475483"/>
                    <a:pt x="349830" y="476817"/>
                    <a:pt x="351450" y="476817"/>
                  </a:cubicBezTo>
                  <a:lnTo>
                    <a:pt x="351578" y="476750"/>
                  </a:lnTo>
                  <a:lnTo>
                    <a:pt x="348783" y="473769"/>
                  </a:lnTo>
                  <a:lnTo>
                    <a:pt x="351413" y="472045"/>
                  </a:lnTo>
                  <a:close/>
                  <a:moveTo>
                    <a:pt x="76273" y="434145"/>
                  </a:moveTo>
                  <a:cubicBezTo>
                    <a:pt x="79225" y="438431"/>
                    <a:pt x="88655" y="436907"/>
                    <a:pt x="87131" y="444242"/>
                  </a:cubicBezTo>
                  <a:lnTo>
                    <a:pt x="87417" y="444242"/>
                  </a:lnTo>
                  <a:cubicBezTo>
                    <a:pt x="85988" y="451290"/>
                    <a:pt x="94656" y="456910"/>
                    <a:pt x="87703" y="465482"/>
                  </a:cubicBezTo>
                  <a:cubicBezTo>
                    <a:pt x="83035" y="471102"/>
                    <a:pt x="82940" y="481198"/>
                    <a:pt x="80559" y="489199"/>
                  </a:cubicBezTo>
                  <a:cubicBezTo>
                    <a:pt x="79511" y="492438"/>
                    <a:pt x="83988" y="497677"/>
                    <a:pt x="76273" y="497772"/>
                  </a:cubicBezTo>
                  <a:cubicBezTo>
                    <a:pt x="75511" y="497772"/>
                    <a:pt x="75796" y="499487"/>
                    <a:pt x="76844" y="500629"/>
                  </a:cubicBezTo>
                  <a:cubicBezTo>
                    <a:pt x="80464" y="504725"/>
                    <a:pt x="80273" y="507297"/>
                    <a:pt x="73891" y="507488"/>
                  </a:cubicBezTo>
                  <a:cubicBezTo>
                    <a:pt x="72463" y="507583"/>
                    <a:pt x="71320" y="509393"/>
                    <a:pt x="71510" y="511202"/>
                  </a:cubicBezTo>
                  <a:cubicBezTo>
                    <a:pt x="72177" y="517679"/>
                    <a:pt x="65224" y="519870"/>
                    <a:pt x="63033" y="525299"/>
                  </a:cubicBezTo>
                  <a:cubicBezTo>
                    <a:pt x="60842" y="530538"/>
                    <a:pt x="56080" y="537110"/>
                    <a:pt x="50269" y="541206"/>
                  </a:cubicBezTo>
                  <a:cubicBezTo>
                    <a:pt x="49984" y="541301"/>
                    <a:pt x="49412" y="541492"/>
                    <a:pt x="49412" y="541587"/>
                  </a:cubicBezTo>
                  <a:cubicBezTo>
                    <a:pt x="49888" y="554922"/>
                    <a:pt x="39316" y="561494"/>
                    <a:pt x="32267" y="570257"/>
                  </a:cubicBezTo>
                  <a:cubicBezTo>
                    <a:pt x="31315" y="571496"/>
                    <a:pt x="29124" y="572734"/>
                    <a:pt x="29314" y="573686"/>
                  </a:cubicBezTo>
                  <a:cubicBezTo>
                    <a:pt x="30648" y="581687"/>
                    <a:pt x="24838" y="579497"/>
                    <a:pt x="21028" y="579497"/>
                  </a:cubicBezTo>
                  <a:cubicBezTo>
                    <a:pt x="14360" y="579687"/>
                    <a:pt x="11503" y="575591"/>
                    <a:pt x="9979" y="569400"/>
                  </a:cubicBezTo>
                  <a:cubicBezTo>
                    <a:pt x="8169" y="561971"/>
                    <a:pt x="11979" y="555303"/>
                    <a:pt x="11979" y="548064"/>
                  </a:cubicBezTo>
                  <a:cubicBezTo>
                    <a:pt x="12074" y="538634"/>
                    <a:pt x="11693" y="528252"/>
                    <a:pt x="15408" y="520061"/>
                  </a:cubicBezTo>
                  <a:cubicBezTo>
                    <a:pt x="19599" y="510726"/>
                    <a:pt x="21885" y="500629"/>
                    <a:pt x="26933" y="491581"/>
                  </a:cubicBezTo>
                  <a:cubicBezTo>
                    <a:pt x="29981" y="486151"/>
                    <a:pt x="34172" y="479103"/>
                    <a:pt x="37506" y="476626"/>
                  </a:cubicBezTo>
                  <a:cubicBezTo>
                    <a:pt x="46459" y="469864"/>
                    <a:pt x="45221" y="455672"/>
                    <a:pt x="54651" y="452623"/>
                  </a:cubicBezTo>
                  <a:cubicBezTo>
                    <a:pt x="61985" y="450338"/>
                    <a:pt x="61890" y="444337"/>
                    <a:pt x="65890" y="441479"/>
                  </a:cubicBezTo>
                  <a:cubicBezTo>
                    <a:pt x="69319" y="439098"/>
                    <a:pt x="73891" y="438241"/>
                    <a:pt x="76273" y="434145"/>
                  </a:cubicBezTo>
                  <a:close/>
                  <a:moveTo>
                    <a:pt x="337484" y="428358"/>
                  </a:moveTo>
                  <a:cubicBezTo>
                    <a:pt x="338639" y="428048"/>
                    <a:pt x="339782" y="428810"/>
                    <a:pt x="340591" y="431668"/>
                  </a:cubicBezTo>
                  <a:cubicBezTo>
                    <a:pt x="342496" y="438526"/>
                    <a:pt x="345163" y="437955"/>
                    <a:pt x="348687" y="432906"/>
                  </a:cubicBezTo>
                  <a:cubicBezTo>
                    <a:pt x="349068" y="432430"/>
                    <a:pt x="350021" y="431859"/>
                    <a:pt x="350021" y="431859"/>
                  </a:cubicBezTo>
                  <a:cubicBezTo>
                    <a:pt x="353831" y="435954"/>
                    <a:pt x="361737" y="434335"/>
                    <a:pt x="363260" y="440431"/>
                  </a:cubicBezTo>
                  <a:cubicBezTo>
                    <a:pt x="364308" y="444908"/>
                    <a:pt x="367071" y="446622"/>
                    <a:pt x="370214" y="448623"/>
                  </a:cubicBezTo>
                  <a:cubicBezTo>
                    <a:pt x="375548" y="452052"/>
                    <a:pt x="380977" y="455385"/>
                    <a:pt x="381453" y="462720"/>
                  </a:cubicBezTo>
                  <a:cubicBezTo>
                    <a:pt x="381453" y="463672"/>
                    <a:pt x="382787" y="465387"/>
                    <a:pt x="383739" y="465482"/>
                  </a:cubicBezTo>
                  <a:cubicBezTo>
                    <a:pt x="398027" y="467292"/>
                    <a:pt x="399265" y="483865"/>
                    <a:pt x="410600" y="489009"/>
                  </a:cubicBezTo>
                  <a:cubicBezTo>
                    <a:pt x="413362" y="490247"/>
                    <a:pt x="413172" y="493771"/>
                    <a:pt x="414314" y="496248"/>
                  </a:cubicBezTo>
                  <a:cubicBezTo>
                    <a:pt x="415553" y="498819"/>
                    <a:pt x="414124" y="507011"/>
                    <a:pt x="422220" y="502058"/>
                  </a:cubicBezTo>
                  <a:cubicBezTo>
                    <a:pt x="425078" y="500248"/>
                    <a:pt x="426316" y="505677"/>
                    <a:pt x="428602" y="507487"/>
                  </a:cubicBezTo>
                  <a:cubicBezTo>
                    <a:pt x="437651" y="514440"/>
                    <a:pt x="447366" y="520632"/>
                    <a:pt x="454796" y="529395"/>
                  </a:cubicBezTo>
                  <a:cubicBezTo>
                    <a:pt x="456415" y="531300"/>
                    <a:pt x="458225" y="533300"/>
                    <a:pt x="458987" y="535586"/>
                  </a:cubicBezTo>
                  <a:cubicBezTo>
                    <a:pt x="460320" y="539682"/>
                    <a:pt x="459939" y="545111"/>
                    <a:pt x="466893" y="542730"/>
                  </a:cubicBezTo>
                  <a:lnTo>
                    <a:pt x="466797" y="542730"/>
                  </a:lnTo>
                  <a:cubicBezTo>
                    <a:pt x="468035" y="542349"/>
                    <a:pt x="469083" y="541872"/>
                    <a:pt x="469560" y="543777"/>
                  </a:cubicBezTo>
                  <a:cubicBezTo>
                    <a:pt x="472608" y="556636"/>
                    <a:pt x="475846" y="569495"/>
                    <a:pt x="478989" y="582354"/>
                  </a:cubicBezTo>
                  <a:cubicBezTo>
                    <a:pt x="478132" y="588545"/>
                    <a:pt x="477370" y="594736"/>
                    <a:pt x="476227" y="600832"/>
                  </a:cubicBezTo>
                  <a:cubicBezTo>
                    <a:pt x="476037" y="601594"/>
                    <a:pt x="474036" y="602928"/>
                    <a:pt x="473274" y="602642"/>
                  </a:cubicBezTo>
                  <a:cubicBezTo>
                    <a:pt x="464321" y="599403"/>
                    <a:pt x="454415" y="600642"/>
                    <a:pt x="445461" y="596070"/>
                  </a:cubicBezTo>
                  <a:cubicBezTo>
                    <a:pt x="441842" y="594260"/>
                    <a:pt x="436031" y="594165"/>
                    <a:pt x="433269" y="591117"/>
                  </a:cubicBezTo>
                  <a:cubicBezTo>
                    <a:pt x="428507" y="585783"/>
                    <a:pt x="419363" y="585687"/>
                    <a:pt x="417362" y="577305"/>
                  </a:cubicBezTo>
                  <a:cubicBezTo>
                    <a:pt x="417077" y="576258"/>
                    <a:pt x="415077" y="574638"/>
                    <a:pt x="414886" y="574734"/>
                  </a:cubicBezTo>
                  <a:cubicBezTo>
                    <a:pt x="406218" y="580639"/>
                    <a:pt x="407837" y="571114"/>
                    <a:pt x="405171" y="568257"/>
                  </a:cubicBezTo>
                  <a:cubicBezTo>
                    <a:pt x="400503" y="563208"/>
                    <a:pt x="394979" y="559208"/>
                    <a:pt x="390121" y="554350"/>
                  </a:cubicBezTo>
                  <a:cubicBezTo>
                    <a:pt x="386216" y="550445"/>
                    <a:pt x="380501" y="547397"/>
                    <a:pt x="378215" y="542634"/>
                  </a:cubicBezTo>
                  <a:cubicBezTo>
                    <a:pt x="372500" y="530728"/>
                    <a:pt x="363451" y="521489"/>
                    <a:pt x="355545" y="511297"/>
                  </a:cubicBezTo>
                  <a:cubicBezTo>
                    <a:pt x="350211" y="504439"/>
                    <a:pt x="342877" y="499296"/>
                    <a:pt x="337924" y="491390"/>
                  </a:cubicBezTo>
                  <a:cubicBezTo>
                    <a:pt x="334019" y="485199"/>
                    <a:pt x="333257" y="478055"/>
                    <a:pt x="329447" y="472054"/>
                  </a:cubicBezTo>
                  <a:cubicBezTo>
                    <a:pt x="328685" y="470911"/>
                    <a:pt x="328875" y="468720"/>
                    <a:pt x="331066" y="468244"/>
                  </a:cubicBezTo>
                  <a:cubicBezTo>
                    <a:pt x="336210" y="467196"/>
                    <a:pt x="334019" y="466625"/>
                    <a:pt x="330971" y="465958"/>
                  </a:cubicBezTo>
                  <a:cubicBezTo>
                    <a:pt x="329352" y="465577"/>
                    <a:pt x="328875" y="464244"/>
                    <a:pt x="329733" y="463101"/>
                  </a:cubicBezTo>
                  <a:cubicBezTo>
                    <a:pt x="335352" y="455862"/>
                    <a:pt x="330399" y="447861"/>
                    <a:pt x="331542" y="440336"/>
                  </a:cubicBezTo>
                  <a:cubicBezTo>
                    <a:pt x="332018" y="437288"/>
                    <a:pt x="332781" y="434049"/>
                    <a:pt x="334304" y="431478"/>
                  </a:cubicBezTo>
                  <a:cubicBezTo>
                    <a:pt x="335162" y="430049"/>
                    <a:pt x="336329" y="428667"/>
                    <a:pt x="337484" y="428358"/>
                  </a:cubicBezTo>
                  <a:close/>
                  <a:moveTo>
                    <a:pt x="307445" y="252503"/>
                  </a:moveTo>
                  <a:lnTo>
                    <a:pt x="307540" y="252503"/>
                  </a:lnTo>
                  <a:lnTo>
                    <a:pt x="307505" y="252555"/>
                  </a:lnTo>
                  <a:close/>
                  <a:moveTo>
                    <a:pt x="307444" y="252218"/>
                  </a:moveTo>
                  <a:cubicBezTo>
                    <a:pt x="306873" y="252408"/>
                    <a:pt x="306492" y="253551"/>
                    <a:pt x="305920" y="254599"/>
                  </a:cubicBezTo>
                  <a:lnTo>
                    <a:pt x="306068" y="254711"/>
                  </a:lnTo>
                  <a:lnTo>
                    <a:pt x="307505" y="252555"/>
                  </a:lnTo>
                  <a:lnTo>
                    <a:pt x="309672" y="254452"/>
                  </a:lnTo>
                  <a:lnTo>
                    <a:pt x="309730" y="254218"/>
                  </a:lnTo>
                  <a:cubicBezTo>
                    <a:pt x="309825" y="252789"/>
                    <a:pt x="308873" y="251837"/>
                    <a:pt x="307444" y="252218"/>
                  </a:cubicBezTo>
                  <a:close/>
                  <a:moveTo>
                    <a:pt x="227148" y="202307"/>
                  </a:moveTo>
                  <a:cubicBezTo>
                    <a:pt x="224005" y="202783"/>
                    <a:pt x="225625" y="205640"/>
                    <a:pt x="225625" y="207641"/>
                  </a:cubicBezTo>
                  <a:cubicBezTo>
                    <a:pt x="222291" y="220404"/>
                    <a:pt x="219433" y="233453"/>
                    <a:pt x="215528" y="246122"/>
                  </a:cubicBezTo>
                  <a:cubicBezTo>
                    <a:pt x="212766" y="255170"/>
                    <a:pt x="212194" y="264981"/>
                    <a:pt x="206860" y="272982"/>
                  </a:cubicBezTo>
                  <a:cubicBezTo>
                    <a:pt x="203146" y="278602"/>
                    <a:pt x="200955" y="284698"/>
                    <a:pt x="198383" y="290699"/>
                  </a:cubicBezTo>
                  <a:cubicBezTo>
                    <a:pt x="197812" y="292032"/>
                    <a:pt x="198193" y="294509"/>
                    <a:pt x="196192" y="294128"/>
                  </a:cubicBezTo>
                  <a:cubicBezTo>
                    <a:pt x="187048" y="292223"/>
                    <a:pt x="189048" y="303653"/>
                    <a:pt x="182667" y="305367"/>
                  </a:cubicBezTo>
                  <a:cubicBezTo>
                    <a:pt x="180857" y="305939"/>
                    <a:pt x="181619" y="309082"/>
                    <a:pt x="182667" y="311844"/>
                  </a:cubicBezTo>
                  <a:cubicBezTo>
                    <a:pt x="184762" y="317273"/>
                    <a:pt x="190763" y="319559"/>
                    <a:pt x="192382" y="324131"/>
                  </a:cubicBezTo>
                  <a:cubicBezTo>
                    <a:pt x="197050" y="337181"/>
                    <a:pt x="201812" y="350420"/>
                    <a:pt x="204003" y="363946"/>
                  </a:cubicBezTo>
                  <a:cubicBezTo>
                    <a:pt x="208003" y="388425"/>
                    <a:pt x="208479" y="413476"/>
                    <a:pt x="215528" y="439384"/>
                  </a:cubicBezTo>
                  <a:cubicBezTo>
                    <a:pt x="217909" y="428525"/>
                    <a:pt x="220291" y="419000"/>
                    <a:pt x="222100" y="409475"/>
                  </a:cubicBezTo>
                  <a:cubicBezTo>
                    <a:pt x="223434" y="402713"/>
                    <a:pt x="225529" y="395759"/>
                    <a:pt x="221148" y="389282"/>
                  </a:cubicBezTo>
                  <a:cubicBezTo>
                    <a:pt x="233816" y="383567"/>
                    <a:pt x="216385" y="368899"/>
                    <a:pt x="228958" y="363184"/>
                  </a:cubicBezTo>
                  <a:cubicBezTo>
                    <a:pt x="226958" y="349754"/>
                    <a:pt x="232673" y="338609"/>
                    <a:pt x="239626" y="328037"/>
                  </a:cubicBezTo>
                  <a:cubicBezTo>
                    <a:pt x="241627" y="324989"/>
                    <a:pt x="243627" y="320798"/>
                    <a:pt x="243627" y="318512"/>
                  </a:cubicBezTo>
                  <a:cubicBezTo>
                    <a:pt x="243627" y="311463"/>
                    <a:pt x="248008" y="310606"/>
                    <a:pt x="252390" y="311177"/>
                  </a:cubicBezTo>
                  <a:cubicBezTo>
                    <a:pt x="258010" y="311939"/>
                    <a:pt x="260581" y="310130"/>
                    <a:pt x="260677" y="304891"/>
                  </a:cubicBezTo>
                  <a:cubicBezTo>
                    <a:pt x="265248" y="305843"/>
                    <a:pt x="262486" y="311082"/>
                    <a:pt x="265820" y="313368"/>
                  </a:cubicBezTo>
                  <a:cubicBezTo>
                    <a:pt x="266011" y="304700"/>
                    <a:pt x="266106" y="304510"/>
                    <a:pt x="271630" y="308034"/>
                  </a:cubicBezTo>
                  <a:cubicBezTo>
                    <a:pt x="273821" y="309463"/>
                    <a:pt x="273345" y="307463"/>
                    <a:pt x="273345" y="306891"/>
                  </a:cubicBezTo>
                  <a:cubicBezTo>
                    <a:pt x="273726" y="301367"/>
                    <a:pt x="277536" y="303462"/>
                    <a:pt x="279155" y="304986"/>
                  </a:cubicBezTo>
                  <a:cubicBezTo>
                    <a:pt x="285823" y="311177"/>
                    <a:pt x="287346" y="301081"/>
                    <a:pt x="292490" y="300605"/>
                  </a:cubicBezTo>
                  <a:lnTo>
                    <a:pt x="292490" y="300509"/>
                  </a:lnTo>
                  <a:cubicBezTo>
                    <a:pt x="296110" y="300128"/>
                    <a:pt x="301063" y="297080"/>
                    <a:pt x="306587" y="296795"/>
                  </a:cubicBezTo>
                  <a:cubicBezTo>
                    <a:pt x="302587" y="289460"/>
                    <a:pt x="295633" y="287555"/>
                    <a:pt x="290109" y="283650"/>
                  </a:cubicBezTo>
                  <a:cubicBezTo>
                    <a:pt x="283632" y="278983"/>
                    <a:pt x="278774" y="272030"/>
                    <a:pt x="271249" y="268220"/>
                  </a:cubicBezTo>
                  <a:cubicBezTo>
                    <a:pt x="268773" y="266981"/>
                    <a:pt x="269440" y="261171"/>
                    <a:pt x="264391" y="262505"/>
                  </a:cubicBezTo>
                  <a:cubicBezTo>
                    <a:pt x="264391" y="257075"/>
                    <a:pt x="257629" y="260314"/>
                    <a:pt x="256485" y="256504"/>
                  </a:cubicBezTo>
                  <a:cubicBezTo>
                    <a:pt x="254009" y="248408"/>
                    <a:pt x="244484" y="246217"/>
                    <a:pt x="241817" y="238216"/>
                  </a:cubicBezTo>
                  <a:cubicBezTo>
                    <a:pt x="240769" y="235168"/>
                    <a:pt x="231625" y="234596"/>
                    <a:pt x="239341" y="228881"/>
                  </a:cubicBezTo>
                  <a:cubicBezTo>
                    <a:pt x="240864" y="227738"/>
                    <a:pt x="238960" y="227167"/>
                    <a:pt x="237912" y="226595"/>
                  </a:cubicBezTo>
                  <a:cubicBezTo>
                    <a:pt x="233959" y="224690"/>
                    <a:pt x="231983" y="221666"/>
                    <a:pt x="230673" y="218273"/>
                  </a:cubicBezTo>
                  <a:lnTo>
                    <a:pt x="227460" y="207822"/>
                  </a:lnTo>
                  <a:lnTo>
                    <a:pt x="227435" y="207831"/>
                  </a:lnTo>
                  <a:lnTo>
                    <a:pt x="227435" y="207739"/>
                  </a:lnTo>
                  <a:lnTo>
                    <a:pt x="227434" y="207736"/>
                  </a:lnTo>
                  <a:lnTo>
                    <a:pt x="225625" y="207736"/>
                  </a:lnTo>
                  <a:cubicBezTo>
                    <a:pt x="225625" y="205736"/>
                    <a:pt x="224006" y="202878"/>
                    <a:pt x="227149" y="202402"/>
                  </a:cubicBezTo>
                  <a:lnTo>
                    <a:pt x="230893" y="206520"/>
                  </a:lnTo>
                  <a:lnTo>
                    <a:pt x="230958" y="206498"/>
                  </a:lnTo>
                  <a:cubicBezTo>
                    <a:pt x="230958" y="204021"/>
                    <a:pt x="229435" y="201926"/>
                    <a:pt x="227148" y="202307"/>
                  </a:cubicBezTo>
                  <a:close/>
                  <a:moveTo>
                    <a:pt x="369030" y="114657"/>
                  </a:moveTo>
                  <a:lnTo>
                    <a:pt x="369595" y="117844"/>
                  </a:lnTo>
                  <a:lnTo>
                    <a:pt x="372426" y="120014"/>
                  </a:lnTo>
                  <a:close/>
                  <a:moveTo>
                    <a:pt x="370977" y="112010"/>
                  </a:moveTo>
                  <a:lnTo>
                    <a:pt x="370662" y="112270"/>
                  </a:lnTo>
                  <a:lnTo>
                    <a:pt x="372693" y="120219"/>
                  </a:lnTo>
                  <a:lnTo>
                    <a:pt x="373167" y="120582"/>
                  </a:lnTo>
                  <a:cubicBezTo>
                    <a:pt x="374691" y="116391"/>
                    <a:pt x="372215" y="114391"/>
                    <a:pt x="370977" y="112010"/>
                  </a:cubicBezTo>
                  <a:close/>
                  <a:moveTo>
                    <a:pt x="442402" y="19082"/>
                  </a:moveTo>
                  <a:cubicBezTo>
                    <a:pt x="444867" y="19784"/>
                    <a:pt x="447462" y="20713"/>
                    <a:pt x="449844" y="19427"/>
                  </a:cubicBezTo>
                  <a:cubicBezTo>
                    <a:pt x="450225" y="19236"/>
                    <a:pt x="450415" y="24094"/>
                    <a:pt x="450606" y="27333"/>
                  </a:cubicBezTo>
                  <a:cubicBezTo>
                    <a:pt x="453273" y="40763"/>
                    <a:pt x="445748" y="53431"/>
                    <a:pt x="444129" y="67052"/>
                  </a:cubicBezTo>
                  <a:cubicBezTo>
                    <a:pt x="443462" y="72767"/>
                    <a:pt x="436699" y="80006"/>
                    <a:pt x="434889" y="85530"/>
                  </a:cubicBezTo>
                  <a:cubicBezTo>
                    <a:pt x="431460" y="95913"/>
                    <a:pt x="422031" y="99818"/>
                    <a:pt x="417649" y="108200"/>
                  </a:cubicBezTo>
                  <a:cubicBezTo>
                    <a:pt x="414696" y="113724"/>
                    <a:pt x="408029" y="113248"/>
                    <a:pt x="403552" y="116963"/>
                  </a:cubicBezTo>
                  <a:cubicBezTo>
                    <a:pt x="398313" y="121249"/>
                    <a:pt x="398123" y="121059"/>
                    <a:pt x="390408" y="127440"/>
                  </a:cubicBezTo>
                  <a:cubicBezTo>
                    <a:pt x="385359" y="131631"/>
                    <a:pt x="376596" y="136013"/>
                    <a:pt x="369262" y="132298"/>
                  </a:cubicBezTo>
                  <a:lnTo>
                    <a:pt x="369548" y="132298"/>
                  </a:lnTo>
                  <a:cubicBezTo>
                    <a:pt x="366690" y="130869"/>
                    <a:pt x="360880" y="134489"/>
                    <a:pt x="361547" y="129536"/>
                  </a:cubicBezTo>
                  <a:cubicBezTo>
                    <a:pt x="362404" y="122297"/>
                    <a:pt x="360975" y="114201"/>
                    <a:pt x="366690" y="107914"/>
                  </a:cubicBezTo>
                  <a:cubicBezTo>
                    <a:pt x="370024" y="104199"/>
                    <a:pt x="376025" y="102866"/>
                    <a:pt x="376406" y="96484"/>
                  </a:cubicBezTo>
                  <a:cubicBezTo>
                    <a:pt x="376501" y="95627"/>
                    <a:pt x="380883" y="95817"/>
                    <a:pt x="376787" y="93531"/>
                  </a:cubicBezTo>
                  <a:cubicBezTo>
                    <a:pt x="372215" y="91055"/>
                    <a:pt x="375072" y="86578"/>
                    <a:pt x="376787" y="84578"/>
                  </a:cubicBezTo>
                  <a:cubicBezTo>
                    <a:pt x="384978" y="75243"/>
                    <a:pt x="388407" y="62670"/>
                    <a:pt x="397075" y="53717"/>
                  </a:cubicBezTo>
                  <a:cubicBezTo>
                    <a:pt x="398885" y="51812"/>
                    <a:pt x="400218" y="46954"/>
                    <a:pt x="405362" y="50193"/>
                  </a:cubicBezTo>
                  <a:cubicBezTo>
                    <a:pt x="407267" y="51336"/>
                    <a:pt x="409172" y="47907"/>
                    <a:pt x="410220" y="45621"/>
                  </a:cubicBezTo>
                  <a:cubicBezTo>
                    <a:pt x="411553" y="42573"/>
                    <a:pt x="410791" y="36000"/>
                    <a:pt x="417363" y="41144"/>
                  </a:cubicBezTo>
                  <a:cubicBezTo>
                    <a:pt x="417459" y="41144"/>
                    <a:pt x="419268" y="39810"/>
                    <a:pt x="419268" y="39239"/>
                  </a:cubicBezTo>
                  <a:cubicBezTo>
                    <a:pt x="418316" y="27237"/>
                    <a:pt x="430222" y="26475"/>
                    <a:pt x="435747" y="20094"/>
                  </a:cubicBezTo>
                  <a:cubicBezTo>
                    <a:pt x="437604" y="17903"/>
                    <a:pt x="439938" y="18379"/>
                    <a:pt x="442402" y="19082"/>
                  </a:cubicBezTo>
                  <a:close/>
                  <a:moveTo>
                    <a:pt x="78559" y="12568"/>
                  </a:moveTo>
                  <a:cubicBezTo>
                    <a:pt x="82845" y="13521"/>
                    <a:pt x="84941" y="17712"/>
                    <a:pt x="84560" y="22569"/>
                  </a:cubicBezTo>
                  <a:cubicBezTo>
                    <a:pt x="84465" y="24093"/>
                    <a:pt x="84560" y="25808"/>
                    <a:pt x="86465" y="26284"/>
                  </a:cubicBezTo>
                  <a:lnTo>
                    <a:pt x="86465" y="26570"/>
                  </a:lnTo>
                  <a:lnTo>
                    <a:pt x="86560" y="26570"/>
                  </a:lnTo>
                  <a:cubicBezTo>
                    <a:pt x="86179" y="29713"/>
                    <a:pt x="84369" y="32856"/>
                    <a:pt x="87036" y="36762"/>
                  </a:cubicBezTo>
                  <a:lnTo>
                    <a:pt x="87036" y="32672"/>
                  </a:lnTo>
                  <a:lnTo>
                    <a:pt x="86751" y="26571"/>
                  </a:lnTo>
                  <a:lnTo>
                    <a:pt x="86751" y="26570"/>
                  </a:lnTo>
                  <a:lnTo>
                    <a:pt x="86756" y="26577"/>
                  </a:lnTo>
                  <a:lnTo>
                    <a:pt x="86878" y="26730"/>
                  </a:lnTo>
                  <a:lnTo>
                    <a:pt x="86774" y="26522"/>
                  </a:lnTo>
                  <a:lnTo>
                    <a:pt x="86750" y="26570"/>
                  </a:lnTo>
                  <a:lnTo>
                    <a:pt x="86750" y="26474"/>
                  </a:lnTo>
                  <a:lnTo>
                    <a:pt x="86655" y="26284"/>
                  </a:lnTo>
                  <a:lnTo>
                    <a:pt x="86560" y="26284"/>
                  </a:lnTo>
                  <a:lnTo>
                    <a:pt x="87132" y="21807"/>
                  </a:lnTo>
                  <a:cubicBezTo>
                    <a:pt x="88084" y="22379"/>
                    <a:pt x="89418" y="22665"/>
                    <a:pt x="89989" y="23427"/>
                  </a:cubicBezTo>
                  <a:cubicBezTo>
                    <a:pt x="91608" y="25713"/>
                    <a:pt x="93418" y="28094"/>
                    <a:pt x="94180" y="30761"/>
                  </a:cubicBezTo>
                  <a:cubicBezTo>
                    <a:pt x="96942" y="40857"/>
                    <a:pt x="105420" y="46572"/>
                    <a:pt x="112087" y="53145"/>
                  </a:cubicBezTo>
                  <a:cubicBezTo>
                    <a:pt x="116373" y="57336"/>
                    <a:pt x="120755" y="60288"/>
                    <a:pt x="120564" y="66861"/>
                  </a:cubicBezTo>
                  <a:cubicBezTo>
                    <a:pt x="120469" y="70861"/>
                    <a:pt x="125898" y="69528"/>
                    <a:pt x="126565" y="72385"/>
                  </a:cubicBezTo>
                  <a:cubicBezTo>
                    <a:pt x="129708" y="86101"/>
                    <a:pt x="132756" y="100008"/>
                    <a:pt x="124851" y="113152"/>
                  </a:cubicBezTo>
                  <a:cubicBezTo>
                    <a:pt x="123517" y="115343"/>
                    <a:pt x="123136" y="117057"/>
                    <a:pt x="123422" y="119153"/>
                  </a:cubicBezTo>
                  <a:cubicBezTo>
                    <a:pt x="123803" y="121629"/>
                    <a:pt x="131709" y="123344"/>
                    <a:pt x="124374" y="126582"/>
                  </a:cubicBezTo>
                  <a:cubicBezTo>
                    <a:pt x="120088" y="128487"/>
                    <a:pt x="115326" y="133917"/>
                    <a:pt x="111135" y="126487"/>
                  </a:cubicBezTo>
                  <a:cubicBezTo>
                    <a:pt x="108658" y="121915"/>
                    <a:pt x="103610" y="121058"/>
                    <a:pt x="99895" y="118200"/>
                  </a:cubicBezTo>
                  <a:cubicBezTo>
                    <a:pt x="97038" y="116010"/>
                    <a:pt x="95609" y="113438"/>
                    <a:pt x="93704" y="110676"/>
                  </a:cubicBezTo>
                  <a:lnTo>
                    <a:pt x="93609" y="110676"/>
                  </a:lnTo>
                  <a:cubicBezTo>
                    <a:pt x="87894" y="102675"/>
                    <a:pt x="80940" y="95626"/>
                    <a:pt x="74273" y="88387"/>
                  </a:cubicBezTo>
                  <a:cubicBezTo>
                    <a:pt x="64367" y="77624"/>
                    <a:pt x="55128" y="66003"/>
                    <a:pt x="59985" y="50478"/>
                  </a:cubicBezTo>
                  <a:cubicBezTo>
                    <a:pt x="63224" y="40191"/>
                    <a:pt x="64653" y="29332"/>
                    <a:pt x="68844" y="19236"/>
                  </a:cubicBezTo>
                  <a:cubicBezTo>
                    <a:pt x="70844" y="14283"/>
                    <a:pt x="74178" y="11616"/>
                    <a:pt x="78559" y="12568"/>
                  </a:cubicBezTo>
                  <a:close/>
                  <a:moveTo>
                    <a:pt x="236197" y="1043"/>
                  </a:moveTo>
                  <a:cubicBezTo>
                    <a:pt x="247818" y="6187"/>
                    <a:pt x="246865" y="17712"/>
                    <a:pt x="251914" y="25999"/>
                  </a:cubicBezTo>
                  <a:cubicBezTo>
                    <a:pt x="252961" y="27713"/>
                    <a:pt x="253342" y="32952"/>
                    <a:pt x="248199" y="28761"/>
                  </a:cubicBezTo>
                  <a:cubicBezTo>
                    <a:pt x="245532" y="32666"/>
                    <a:pt x="250389" y="35619"/>
                    <a:pt x="249627" y="39239"/>
                  </a:cubicBezTo>
                  <a:cubicBezTo>
                    <a:pt x="254962" y="36381"/>
                    <a:pt x="252104" y="40286"/>
                    <a:pt x="252295" y="42287"/>
                  </a:cubicBezTo>
                  <a:cubicBezTo>
                    <a:pt x="252771" y="47525"/>
                    <a:pt x="248104" y="42287"/>
                    <a:pt x="247151" y="45335"/>
                  </a:cubicBezTo>
                  <a:cubicBezTo>
                    <a:pt x="251342" y="48192"/>
                    <a:pt x="251342" y="51907"/>
                    <a:pt x="250675" y="57050"/>
                  </a:cubicBezTo>
                  <a:cubicBezTo>
                    <a:pt x="249532" y="65623"/>
                    <a:pt x="251533" y="74291"/>
                    <a:pt x="255057" y="82387"/>
                  </a:cubicBezTo>
                  <a:cubicBezTo>
                    <a:pt x="256581" y="85911"/>
                    <a:pt x="256009" y="89721"/>
                    <a:pt x="256771" y="93055"/>
                  </a:cubicBezTo>
                  <a:cubicBezTo>
                    <a:pt x="259724" y="105914"/>
                    <a:pt x="263629" y="118582"/>
                    <a:pt x="267249" y="131345"/>
                  </a:cubicBezTo>
                  <a:cubicBezTo>
                    <a:pt x="267725" y="132869"/>
                    <a:pt x="268677" y="134298"/>
                    <a:pt x="269630" y="135441"/>
                  </a:cubicBezTo>
                  <a:cubicBezTo>
                    <a:pt x="274773" y="141632"/>
                    <a:pt x="280965" y="146395"/>
                    <a:pt x="281250" y="156206"/>
                  </a:cubicBezTo>
                  <a:cubicBezTo>
                    <a:pt x="281536" y="165921"/>
                    <a:pt x="291728" y="171350"/>
                    <a:pt x="297824" y="177446"/>
                  </a:cubicBezTo>
                  <a:cubicBezTo>
                    <a:pt x="303158" y="182780"/>
                    <a:pt x="308492" y="189734"/>
                    <a:pt x="316493" y="192877"/>
                  </a:cubicBezTo>
                  <a:cubicBezTo>
                    <a:pt x="323923" y="195734"/>
                    <a:pt x="328685" y="202973"/>
                    <a:pt x="336019" y="206307"/>
                  </a:cubicBezTo>
                  <a:cubicBezTo>
                    <a:pt x="339163" y="207736"/>
                    <a:pt x="343639" y="208688"/>
                    <a:pt x="343639" y="213546"/>
                  </a:cubicBezTo>
                  <a:cubicBezTo>
                    <a:pt x="343639" y="215927"/>
                    <a:pt x="344973" y="215165"/>
                    <a:pt x="345925" y="214880"/>
                  </a:cubicBezTo>
                  <a:cubicBezTo>
                    <a:pt x="352879" y="212403"/>
                    <a:pt x="360213" y="215070"/>
                    <a:pt x="366214" y="220785"/>
                  </a:cubicBezTo>
                  <a:cubicBezTo>
                    <a:pt x="366975" y="221452"/>
                    <a:pt x="371071" y="222595"/>
                    <a:pt x="373738" y="223071"/>
                  </a:cubicBezTo>
                  <a:cubicBezTo>
                    <a:pt x="378882" y="224024"/>
                    <a:pt x="381644" y="226976"/>
                    <a:pt x="384978" y="231072"/>
                  </a:cubicBezTo>
                  <a:cubicBezTo>
                    <a:pt x="387550" y="234215"/>
                    <a:pt x="394217" y="234215"/>
                    <a:pt x="399170" y="235168"/>
                  </a:cubicBezTo>
                  <a:cubicBezTo>
                    <a:pt x="403742" y="236025"/>
                    <a:pt x="408314" y="234787"/>
                    <a:pt x="412696" y="238787"/>
                  </a:cubicBezTo>
                  <a:cubicBezTo>
                    <a:pt x="413934" y="240026"/>
                    <a:pt x="421077" y="242883"/>
                    <a:pt x="425364" y="239073"/>
                  </a:cubicBezTo>
                  <a:cubicBezTo>
                    <a:pt x="429841" y="246122"/>
                    <a:pt x="437365" y="243550"/>
                    <a:pt x="443175" y="243550"/>
                  </a:cubicBezTo>
                  <a:cubicBezTo>
                    <a:pt x="451272" y="243550"/>
                    <a:pt x="458987" y="247741"/>
                    <a:pt x="466131" y="246693"/>
                  </a:cubicBezTo>
                  <a:cubicBezTo>
                    <a:pt x="472703" y="245741"/>
                    <a:pt x="478227" y="246788"/>
                    <a:pt x="484419" y="247741"/>
                  </a:cubicBezTo>
                  <a:cubicBezTo>
                    <a:pt x="496611" y="249455"/>
                    <a:pt x="499849" y="259361"/>
                    <a:pt x="503278" y="268029"/>
                  </a:cubicBezTo>
                  <a:cubicBezTo>
                    <a:pt x="505183" y="272792"/>
                    <a:pt x="507279" y="278507"/>
                    <a:pt x="505755" y="284603"/>
                  </a:cubicBezTo>
                  <a:cubicBezTo>
                    <a:pt x="504517" y="289841"/>
                    <a:pt x="509279" y="288222"/>
                    <a:pt x="512041" y="288698"/>
                  </a:cubicBezTo>
                  <a:lnTo>
                    <a:pt x="511851" y="288794"/>
                  </a:lnTo>
                  <a:lnTo>
                    <a:pt x="511851" y="290699"/>
                  </a:lnTo>
                  <a:cubicBezTo>
                    <a:pt x="507469" y="297080"/>
                    <a:pt x="509470" y="304224"/>
                    <a:pt x="509470" y="311082"/>
                  </a:cubicBezTo>
                  <a:cubicBezTo>
                    <a:pt x="509470" y="312320"/>
                    <a:pt x="510898" y="313749"/>
                    <a:pt x="510898" y="315464"/>
                  </a:cubicBezTo>
                  <a:cubicBezTo>
                    <a:pt x="510803" y="320512"/>
                    <a:pt x="509660" y="325179"/>
                    <a:pt x="505183" y="328322"/>
                  </a:cubicBezTo>
                  <a:cubicBezTo>
                    <a:pt x="510517" y="332990"/>
                    <a:pt x="508803" y="339657"/>
                    <a:pt x="505945" y="343277"/>
                  </a:cubicBezTo>
                  <a:cubicBezTo>
                    <a:pt x="497849" y="353564"/>
                    <a:pt x="488800" y="363279"/>
                    <a:pt x="474798" y="366041"/>
                  </a:cubicBezTo>
                  <a:cubicBezTo>
                    <a:pt x="463559" y="368327"/>
                    <a:pt x="452034" y="366803"/>
                    <a:pt x="440699" y="367946"/>
                  </a:cubicBezTo>
                  <a:cubicBezTo>
                    <a:pt x="433746" y="368613"/>
                    <a:pt x="430602" y="376043"/>
                    <a:pt x="423078" y="374138"/>
                  </a:cubicBezTo>
                  <a:cubicBezTo>
                    <a:pt x="420125" y="373471"/>
                    <a:pt x="415934" y="375662"/>
                    <a:pt x="412124" y="374138"/>
                  </a:cubicBezTo>
                  <a:cubicBezTo>
                    <a:pt x="409552" y="373090"/>
                    <a:pt x="407266" y="374614"/>
                    <a:pt x="404885" y="374995"/>
                  </a:cubicBezTo>
                  <a:cubicBezTo>
                    <a:pt x="390883" y="376995"/>
                    <a:pt x="379072" y="384806"/>
                    <a:pt x="365928" y="388901"/>
                  </a:cubicBezTo>
                  <a:cubicBezTo>
                    <a:pt x="354307" y="392521"/>
                    <a:pt x="342115" y="393569"/>
                    <a:pt x="330114" y="395664"/>
                  </a:cubicBezTo>
                  <a:cubicBezTo>
                    <a:pt x="328780" y="395855"/>
                    <a:pt x="327447" y="396521"/>
                    <a:pt x="326304" y="396045"/>
                  </a:cubicBezTo>
                  <a:cubicBezTo>
                    <a:pt x="316398" y="392045"/>
                    <a:pt x="308302" y="397283"/>
                    <a:pt x="300015" y="401189"/>
                  </a:cubicBezTo>
                  <a:cubicBezTo>
                    <a:pt x="296205" y="402903"/>
                    <a:pt x="293538" y="403189"/>
                    <a:pt x="289442" y="401284"/>
                  </a:cubicBezTo>
                  <a:cubicBezTo>
                    <a:pt x="279536" y="396521"/>
                    <a:pt x="266296" y="406904"/>
                    <a:pt x="265534" y="417667"/>
                  </a:cubicBezTo>
                  <a:cubicBezTo>
                    <a:pt x="264391" y="432050"/>
                    <a:pt x="263439" y="446337"/>
                    <a:pt x="262200" y="460625"/>
                  </a:cubicBezTo>
                  <a:cubicBezTo>
                    <a:pt x="261534" y="467768"/>
                    <a:pt x="264868" y="475007"/>
                    <a:pt x="262772" y="481484"/>
                  </a:cubicBezTo>
                  <a:cubicBezTo>
                    <a:pt x="256104" y="502344"/>
                    <a:pt x="260296" y="523490"/>
                    <a:pt x="260105" y="544445"/>
                  </a:cubicBezTo>
                  <a:cubicBezTo>
                    <a:pt x="260105" y="556065"/>
                    <a:pt x="253437" y="565685"/>
                    <a:pt x="253152" y="577115"/>
                  </a:cubicBezTo>
                  <a:cubicBezTo>
                    <a:pt x="252771" y="591498"/>
                    <a:pt x="249627" y="605595"/>
                    <a:pt x="249627" y="620073"/>
                  </a:cubicBezTo>
                  <a:cubicBezTo>
                    <a:pt x="249627" y="629693"/>
                    <a:pt x="247437" y="639123"/>
                    <a:pt x="246008" y="648553"/>
                  </a:cubicBezTo>
                  <a:cubicBezTo>
                    <a:pt x="244675" y="657125"/>
                    <a:pt x="245818" y="666079"/>
                    <a:pt x="244865" y="674842"/>
                  </a:cubicBezTo>
                  <a:cubicBezTo>
                    <a:pt x="243436" y="687986"/>
                    <a:pt x="247151" y="701417"/>
                    <a:pt x="245056" y="714561"/>
                  </a:cubicBezTo>
                  <a:cubicBezTo>
                    <a:pt x="242293" y="731516"/>
                    <a:pt x="244294" y="748470"/>
                    <a:pt x="242674" y="765425"/>
                  </a:cubicBezTo>
                  <a:cubicBezTo>
                    <a:pt x="242103" y="771140"/>
                    <a:pt x="238674" y="773711"/>
                    <a:pt x="234673" y="776474"/>
                  </a:cubicBezTo>
                  <a:lnTo>
                    <a:pt x="223339" y="776474"/>
                  </a:lnTo>
                  <a:lnTo>
                    <a:pt x="223148" y="776474"/>
                  </a:lnTo>
                  <a:lnTo>
                    <a:pt x="213719" y="776474"/>
                  </a:lnTo>
                  <a:lnTo>
                    <a:pt x="213528" y="776474"/>
                  </a:lnTo>
                  <a:lnTo>
                    <a:pt x="207718" y="776474"/>
                  </a:lnTo>
                  <a:cubicBezTo>
                    <a:pt x="208384" y="767615"/>
                    <a:pt x="199907" y="764091"/>
                    <a:pt x="196383" y="757614"/>
                  </a:cubicBezTo>
                  <a:cubicBezTo>
                    <a:pt x="195049" y="755328"/>
                    <a:pt x="193144" y="752185"/>
                    <a:pt x="193144" y="750375"/>
                  </a:cubicBezTo>
                  <a:cubicBezTo>
                    <a:pt x="193525" y="740755"/>
                    <a:pt x="188668" y="732468"/>
                    <a:pt x="187620" y="723419"/>
                  </a:cubicBezTo>
                  <a:cubicBezTo>
                    <a:pt x="187334" y="721229"/>
                    <a:pt x="185334" y="720657"/>
                    <a:pt x="185620" y="719038"/>
                  </a:cubicBezTo>
                  <a:cubicBezTo>
                    <a:pt x="189144" y="699893"/>
                    <a:pt x="179904" y="682271"/>
                    <a:pt x="178857" y="663602"/>
                  </a:cubicBezTo>
                  <a:cubicBezTo>
                    <a:pt x="178666" y="659983"/>
                    <a:pt x="181714" y="658649"/>
                    <a:pt x="181238" y="654744"/>
                  </a:cubicBezTo>
                  <a:cubicBezTo>
                    <a:pt x="178190" y="628074"/>
                    <a:pt x="182571" y="601309"/>
                    <a:pt x="180667" y="574639"/>
                  </a:cubicBezTo>
                  <a:cubicBezTo>
                    <a:pt x="180190" y="568638"/>
                    <a:pt x="175237" y="561875"/>
                    <a:pt x="184286" y="558065"/>
                  </a:cubicBezTo>
                  <a:cubicBezTo>
                    <a:pt x="180000" y="551684"/>
                    <a:pt x="182191" y="544064"/>
                    <a:pt x="180762" y="537110"/>
                  </a:cubicBezTo>
                  <a:cubicBezTo>
                    <a:pt x="178952" y="527871"/>
                    <a:pt x="177619" y="518918"/>
                    <a:pt x="179428" y="508821"/>
                  </a:cubicBezTo>
                  <a:cubicBezTo>
                    <a:pt x="180381" y="503392"/>
                    <a:pt x="180095" y="495010"/>
                    <a:pt x="178095" y="487580"/>
                  </a:cubicBezTo>
                  <a:cubicBezTo>
                    <a:pt x="175714" y="478627"/>
                    <a:pt x="174666" y="468245"/>
                    <a:pt x="174380" y="458624"/>
                  </a:cubicBezTo>
                  <a:cubicBezTo>
                    <a:pt x="173999" y="445575"/>
                    <a:pt x="170189" y="432907"/>
                    <a:pt x="170856" y="419858"/>
                  </a:cubicBezTo>
                  <a:cubicBezTo>
                    <a:pt x="158759" y="415667"/>
                    <a:pt x="170475" y="404999"/>
                    <a:pt x="164760" y="397950"/>
                  </a:cubicBezTo>
                  <a:cubicBezTo>
                    <a:pt x="160188" y="392426"/>
                    <a:pt x="157140" y="384996"/>
                    <a:pt x="151901" y="379853"/>
                  </a:cubicBezTo>
                  <a:cubicBezTo>
                    <a:pt x="149234" y="377186"/>
                    <a:pt x="150472" y="370232"/>
                    <a:pt x="144091" y="371661"/>
                  </a:cubicBezTo>
                  <a:cubicBezTo>
                    <a:pt x="131613" y="374614"/>
                    <a:pt x="121897" y="362612"/>
                    <a:pt x="110848" y="364327"/>
                  </a:cubicBezTo>
                  <a:cubicBezTo>
                    <a:pt x="102562" y="365660"/>
                    <a:pt x="95132" y="360136"/>
                    <a:pt x="86941" y="364041"/>
                  </a:cubicBezTo>
                  <a:cubicBezTo>
                    <a:pt x="83607" y="365565"/>
                    <a:pt x="78749" y="365375"/>
                    <a:pt x="74272" y="361565"/>
                  </a:cubicBezTo>
                  <a:cubicBezTo>
                    <a:pt x="71224" y="358993"/>
                    <a:pt x="64271" y="361088"/>
                    <a:pt x="59032" y="360803"/>
                  </a:cubicBezTo>
                  <a:cubicBezTo>
                    <a:pt x="53222" y="360517"/>
                    <a:pt x="47507" y="362993"/>
                    <a:pt x="41792" y="361184"/>
                  </a:cubicBezTo>
                  <a:cubicBezTo>
                    <a:pt x="40649" y="360803"/>
                    <a:pt x="39887" y="360136"/>
                    <a:pt x="38649" y="361374"/>
                  </a:cubicBezTo>
                  <a:cubicBezTo>
                    <a:pt x="35887" y="363946"/>
                    <a:pt x="33886" y="360898"/>
                    <a:pt x="32362" y="361946"/>
                  </a:cubicBezTo>
                  <a:cubicBezTo>
                    <a:pt x="27219" y="365375"/>
                    <a:pt x="23599" y="359850"/>
                    <a:pt x="19408" y="361374"/>
                  </a:cubicBezTo>
                  <a:cubicBezTo>
                    <a:pt x="11312" y="364422"/>
                    <a:pt x="2168" y="356135"/>
                    <a:pt x="930" y="347563"/>
                  </a:cubicBezTo>
                  <a:cubicBezTo>
                    <a:pt x="-23" y="341181"/>
                    <a:pt x="-785" y="335466"/>
                    <a:pt x="1501" y="329465"/>
                  </a:cubicBezTo>
                  <a:cubicBezTo>
                    <a:pt x="2644" y="326322"/>
                    <a:pt x="-499" y="320131"/>
                    <a:pt x="7216" y="322417"/>
                  </a:cubicBezTo>
                  <a:cubicBezTo>
                    <a:pt x="7502" y="322512"/>
                    <a:pt x="8835" y="320607"/>
                    <a:pt x="8740" y="320417"/>
                  </a:cubicBezTo>
                  <a:cubicBezTo>
                    <a:pt x="1120" y="310606"/>
                    <a:pt x="14836" y="316130"/>
                    <a:pt x="14836" y="311844"/>
                  </a:cubicBezTo>
                  <a:cubicBezTo>
                    <a:pt x="3406" y="308225"/>
                    <a:pt x="3883" y="308320"/>
                    <a:pt x="7216" y="296509"/>
                  </a:cubicBezTo>
                  <a:cubicBezTo>
                    <a:pt x="9026" y="290318"/>
                    <a:pt x="13884" y="286317"/>
                    <a:pt x="15408" y="280126"/>
                  </a:cubicBezTo>
                  <a:cubicBezTo>
                    <a:pt x="17503" y="271839"/>
                    <a:pt x="25885" y="277554"/>
                    <a:pt x="30743" y="274316"/>
                  </a:cubicBezTo>
                  <a:cubicBezTo>
                    <a:pt x="35887" y="270887"/>
                    <a:pt x="42840" y="275840"/>
                    <a:pt x="48460" y="269839"/>
                  </a:cubicBezTo>
                  <a:cubicBezTo>
                    <a:pt x="52365" y="265648"/>
                    <a:pt x="59032" y="269553"/>
                    <a:pt x="58556" y="274887"/>
                  </a:cubicBezTo>
                  <a:cubicBezTo>
                    <a:pt x="59508" y="274601"/>
                    <a:pt x="60842" y="274506"/>
                    <a:pt x="60937" y="274030"/>
                  </a:cubicBezTo>
                  <a:cubicBezTo>
                    <a:pt x="62271" y="268791"/>
                    <a:pt x="64557" y="266505"/>
                    <a:pt x="70558" y="268410"/>
                  </a:cubicBezTo>
                  <a:cubicBezTo>
                    <a:pt x="71986" y="268886"/>
                    <a:pt x="75891" y="267934"/>
                    <a:pt x="78749" y="265362"/>
                  </a:cubicBezTo>
                  <a:cubicBezTo>
                    <a:pt x="86179" y="258695"/>
                    <a:pt x="96846" y="259838"/>
                    <a:pt x="106086" y="257361"/>
                  </a:cubicBezTo>
                  <a:cubicBezTo>
                    <a:pt x="112182" y="255742"/>
                    <a:pt x="118564" y="254980"/>
                    <a:pt x="124564" y="253075"/>
                  </a:cubicBezTo>
                  <a:cubicBezTo>
                    <a:pt x="129612" y="251456"/>
                    <a:pt x="136185" y="251265"/>
                    <a:pt x="137233" y="243836"/>
                  </a:cubicBezTo>
                  <a:cubicBezTo>
                    <a:pt x="151329" y="249836"/>
                    <a:pt x="155997" y="229167"/>
                    <a:pt x="169332" y="232310"/>
                  </a:cubicBezTo>
                  <a:cubicBezTo>
                    <a:pt x="170379" y="232596"/>
                    <a:pt x="172380" y="228881"/>
                    <a:pt x="173999" y="226976"/>
                  </a:cubicBezTo>
                  <a:cubicBezTo>
                    <a:pt x="176571" y="224024"/>
                    <a:pt x="177428" y="217166"/>
                    <a:pt x="183905" y="222595"/>
                  </a:cubicBezTo>
                  <a:cubicBezTo>
                    <a:pt x="184286" y="222881"/>
                    <a:pt x="186096" y="222309"/>
                    <a:pt x="186191" y="221833"/>
                  </a:cubicBezTo>
                  <a:cubicBezTo>
                    <a:pt x="190477" y="206212"/>
                    <a:pt x="202574" y="194115"/>
                    <a:pt x="204955" y="177351"/>
                  </a:cubicBezTo>
                  <a:cubicBezTo>
                    <a:pt x="208384" y="153253"/>
                    <a:pt x="209908" y="128964"/>
                    <a:pt x="208003" y="105056"/>
                  </a:cubicBezTo>
                  <a:cubicBezTo>
                    <a:pt x="207146" y="93912"/>
                    <a:pt x="207908" y="81720"/>
                    <a:pt x="203241" y="70766"/>
                  </a:cubicBezTo>
                  <a:cubicBezTo>
                    <a:pt x="210289" y="66194"/>
                    <a:pt x="202574" y="57812"/>
                    <a:pt x="207813" y="52669"/>
                  </a:cubicBezTo>
                  <a:cubicBezTo>
                    <a:pt x="211623" y="48859"/>
                    <a:pt x="208098" y="43525"/>
                    <a:pt x="210194" y="39905"/>
                  </a:cubicBezTo>
                  <a:cubicBezTo>
                    <a:pt x="217147" y="27904"/>
                    <a:pt x="217433" y="12854"/>
                    <a:pt x="227720" y="2567"/>
                  </a:cubicBezTo>
                  <a:cubicBezTo>
                    <a:pt x="229816" y="472"/>
                    <a:pt x="231244" y="-1147"/>
                    <a:pt x="236197" y="1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74B72920-69A3-74B7-BA1D-1F2FF67C9955}"/>
                </a:ext>
              </a:extLst>
            </p:cNvPr>
            <p:cNvSpPr/>
            <p:nvPr/>
          </p:nvSpPr>
          <p:spPr>
            <a:xfrm>
              <a:off x="10732103" y="6210946"/>
              <a:ext cx="382260" cy="413371"/>
            </a:xfrm>
            <a:custGeom>
              <a:avLst/>
              <a:gdLst>
                <a:gd name="connsiteX0" fmla="*/ 33115 w 382260"/>
                <a:gd name="connsiteY0" fmla="*/ 204794 h 413370"/>
                <a:gd name="connsiteX1" fmla="*/ 45879 w 382260"/>
                <a:gd name="connsiteY1" fmla="*/ 200889 h 413370"/>
                <a:gd name="connsiteX2" fmla="*/ 56642 w 382260"/>
                <a:gd name="connsiteY2" fmla="*/ 194602 h 413370"/>
                <a:gd name="connsiteX3" fmla="*/ 78264 w 382260"/>
                <a:gd name="connsiteY3" fmla="*/ 180029 h 413370"/>
                <a:gd name="connsiteX4" fmla="*/ 97409 w 382260"/>
                <a:gd name="connsiteY4" fmla="*/ 165456 h 413370"/>
                <a:gd name="connsiteX5" fmla="*/ 124555 w 382260"/>
                <a:gd name="connsiteY5" fmla="*/ 139929 h 413370"/>
                <a:gd name="connsiteX6" fmla="*/ 148463 w 382260"/>
                <a:gd name="connsiteY6" fmla="*/ 111925 h 413370"/>
                <a:gd name="connsiteX7" fmla="*/ 160179 w 382260"/>
                <a:gd name="connsiteY7" fmla="*/ 91923 h 413370"/>
                <a:gd name="connsiteX8" fmla="*/ 162560 w 382260"/>
                <a:gd name="connsiteY8" fmla="*/ 87541 h 413370"/>
                <a:gd name="connsiteX9" fmla="*/ 166751 w 382260"/>
                <a:gd name="connsiteY9" fmla="*/ 77064 h 413370"/>
                <a:gd name="connsiteX10" fmla="*/ 167513 w 382260"/>
                <a:gd name="connsiteY10" fmla="*/ 74397 h 413370"/>
                <a:gd name="connsiteX11" fmla="*/ 173228 w 382260"/>
                <a:gd name="connsiteY11" fmla="*/ 54299 h 413370"/>
                <a:gd name="connsiteX12" fmla="*/ 175609 w 382260"/>
                <a:gd name="connsiteY12" fmla="*/ 28772 h 413370"/>
                <a:gd name="connsiteX13" fmla="*/ 175609 w 382260"/>
                <a:gd name="connsiteY13" fmla="*/ 7055 h 413370"/>
                <a:gd name="connsiteX14" fmla="*/ 176371 w 382260"/>
                <a:gd name="connsiteY14" fmla="*/ 4864 h 413370"/>
                <a:gd name="connsiteX15" fmla="*/ 177419 w 382260"/>
                <a:gd name="connsiteY15" fmla="*/ 2293 h 413370"/>
                <a:gd name="connsiteX16" fmla="*/ 180086 w 382260"/>
                <a:gd name="connsiteY16" fmla="*/ 7 h 413370"/>
                <a:gd name="connsiteX17" fmla="*/ 187325 w 382260"/>
                <a:gd name="connsiteY17" fmla="*/ 7817 h 413370"/>
                <a:gd name="connsiteX18" fmla="*/ 188373 w 382260"/>
                <a:gd name="connsiteY18" fmla="*/ 27629 h 413370"/>
                <a:gd name="connsiteX19" fmla="*/ 195802 w 382260"/>
                <a:gd name="connsiteY19" fmla="*/ 56490 h 413370"/>
                <a:gd name="connsiteX20" fmla="*/ 204089 w 382260"/>
                <a:gd name="connsiteY20" fmla="*/ 75635 h 413370"/>
                <a:gd name="connsiteX21" fmla="*/ 208852 w 382260"/>
                <a:gd name="connsiteY21" fmla="*/ 90494 h 413370"/>
                <a:gd name="connsiteX22" fmla="*/ 225997 w 382260"/>
                <a:gd name="connsiteY22" fmla="*/ 117926 h 413370"/>
                <a:gd name="connsiteX23" fmla="*/ 249428 w 382260"/>
                <a:gd name="connsiteY23" fmla="*/ 144406 h 413370"/>
                <a:gd name="connsiteX24" fmla="*/ 263620 w 382260"/>
                <a:gd name="connsiteY24" fmla="*/ 156312 h 413370"/>
                <a:gd name="connsiteX25" fmla="*/ 274765 w 382260"/>
                <a:gd name="connsiteY25" fmla="*/ 164599 h 413370"/>
                <a:gd name="connsiteX26" fmla="*/ 298196 w 382260"/>
                <a:gd name="connsiteY26" fmla="*/ 178029 h 413370"/>
                <a:gd name="connsiteX27" fmla="*/ 319342 w 382260"/>
                <a:gd name="connsiteY27" fmla="*/ 188506 h 413370"/>
                <a:gd name="connsiteX28" fmla="*/ 345726 w 382260"/>
                <a:gd name="connsiteY28" fmla="*/ 199079 h 413370"/>
                <a:gd name="connsiteX29" fmla="*/ 377635 w 382260"/>
                <a:gd name="connsiteY29" fmla="*/ 210509 h 413370"/>
                <a:gd name="connsiteX30" fmla="*/ 381730 w 382260"/>
                <a:gd name="connsiteY30" fmla="*/ 215843 h 413370"/>
                <a:gd name="connsiteX31" fmla="*/ 379635 w 382260"/>
                <a:gd name="connsiteY31" fmla="*/ 220987 h 413370"/>
                <a:gd name="connsiteX32" fmla="*/ 375730 w 382260"/>
                <a:gd name="connsiteY32" fmla="*/ 226321 h 413370"/>
                <a:gd name="connsiteX33" fmla="*/ 370110 w 382260"/>
                <a:gd name="connsiteY33" fmla="*/ 229273 h 413370"/>
                <a:gd name="connsiteX34" fmla="*/ 355060 w 382260"/>
                <a:gd name="connsiteY34" fmla="*/ 232607 h 413370"/>
                <a:gd name="connsiteX35" fmla="*/ 346964 w 382260"/>
                <a:gd name="connsiteY35" fmla="*/ 236608 h 413370"/>
                <a:gd name="connsiteX36" fmla="*/ 322961 w 382260"/>
                <a:gd name="connsiteY36" fmla="*/ 246990 h 413370"/>
                <a:gd name="connsiteX37" fmla="*/ 288671 w 382260"/>
                <a:gd name="connsiteY37" fmla="*/ 265849 h 413370"/>
                <a:gd name="connsiteX38" fmla="*/ 267907 w 382260"/>
                <a:gd name="connsiteY38" fmla="*/ 279946 h 413370"/>
                <a:gd name="connsiteX39" fmla="*/ 237998 w 382260"/>
                <a:gd name="connsiteY39" fmla="*/ 307855 h 413370"/>
                <a:gd name="connsiteX40" fmla="*/ 225330 w 382260"/>
                <a:gd name="connsiteY40" fmla="*/ 322714 h 413370"/>
                <a:gd name="connsiteX41" fmla="*/ 200660 w 382260"/>
                <a:gd name="connsiteY41" fmla="*/ 364814 h 413370"/>
                <a:gd name="connsiteX42" fmla="*/ 187135 w 382260"/>
                <a:gd name="connsiteY42" fmla="*/ 398628 h 413370"/>
                <a:gd name="connsiteX43" fmla="*/ 186277 w 382260"/>
                <a:gd name="connsiteY43" fmla="*/ 402724 h 413370"/>
                <a:gd name="connsiteX44" fmla="*/ 181896 w 382260"/>
                <a:gd name="connsiteY44" fmla="*/ 412725 h 413370"/>
                <a:gd name="connsiteX45" fmla="*/ 179896 w 382260"/>
                <a:gd name="connsiteY45" fmla="*/ 413011 h 413370"/>
                <a:gd name="connsiteX46" fmla="*/ 176086 w 382260"/>
                <a:gd name="connsiteY46" fmla="*/ 412439 h 413370"/>
                <a:gd name="connsiteX47" fmla="*/ 175038 w 382260"/>
                <a:gd name="connsiteY47" fmla="*/ 411391 h 413370"/>
                <a:gd name="connsiteX48" fmla="*/ 175038 w 382260"/>
                <a:gd name="connsiteY48" fmla="*/ 403771 h 413370"/>
                <a:gd name="connsiteX49" fmla="*/ 173800 w 382260"/>
                <a:gd name="connsiteY49" fmla="*/ 383769 h 413370"/>
                <a:gd name="connsiteX50" fmla="*/ 170275 w 382260"/>
                <a:gd name="connsiteY50" fmla="*/ 371386 h 413370"/>
                <a:gd name="connsiteX51" fmla="*/ 165703 w 382260"/>
                <a:gd name="connsiteY51" fmla="*/ 352527 h 413370"/>
                <a:gd name="connsiteX52" fmla="*/ 152749 w 382260"/>
                <a:gd name="connsiteY52" fmla="*/ 321285 h 413370"/>
                <a:gd name="connsiteX53" fmla="*/ 122269 w 382260"/>
                <a:gd name="connsiteY53" fmla="*/ 274041 h 413370"/>
                <a:gd name="connsiteX54" fmla="*/ 97219 w 382260"/>
                <a:gd name="connsiteY54" fmla="*/ 253276 h 413370"/>
                <a:gd name="connsiteX55" fmla="*/ 85027 w 382260"/>
                <a:gd name="connsiteY55" fmla="*/ 247276 h 413370"/>
                <a:gd name="connsiteX56" fmla="*/ 76359 w 382260"/>
                <a:gd name="connsiteY56" fmla="*/ 242418 h 413370"/>
                <a:gd name="connsiteX57" fmla="*/ 74930 w 382260"/>
                <a:gd name="connsiteY57" fmla="*/ 242418 h 413370"/>
                <a:gd name="connsiteX58" fmla="*/ 71977 w 382260"/>
                <a:gd name="connsiteY58" fmla="*/ 242799 h 413370"/>
                <a:gd name="connsiteX59" fmla="*/ 63119 w 382260"/>
                <a:gd name="connsiteY59" fmla="*/ 240322 h 413370"/>
                <a:gd name="connsiteX60" fmla="*/ 61119 w 382260"/>
                <a:gd name="connsiteY60" fmla="*/ 237465 h 413370"/>
                <a:gd name="connsiteX61" fmla="*/ 58071 w 382260"/>
                <a:gd name="connsiteY61" fmla="*/ 234512 h 413370"/>
                <a:gd name="connsiteX62" fmla="*/ 42164 w 382260"/>
                <a:gd name="connsiteY62" fmla="*/ 232417 h 413370"/>
                <a:gd name="connsiteX63" fmla="*/ 38640 w 382260"/>
                <a:gd name="connsiteY63" fmla="*/ 230607 h 413370"/>
                <a:gd name="connsiteX64" fmla="*/ 34544 w 382260"/>
                <a:gd name="connsiteY64" fmla="*/ 229940 h 413370"/>
                <a:gd name="connsiteX65" fmla="*/ 30448 w 382260"/>
                <a:gd name="connsiteY65" fmla="*/ 230321 h 413370"/>
                <a:gd name="connsiteX66" fmla="*/ 27305 w 382260"/>
                <a:gd name="connsiteY66" fmla="*/ 231274 h 413370"/>
                <a:gd name="connsiteX67" fmla="*/ 25114 w 382260"/>
                <a:gd name="connsiteY67" fmla="*/ 232321 h 413370"/>
                <a:gd name="connsiteX68" fmla="*/ 17685 w 382260"/>
                <a:gd name="connsiteY68" fmla="*/ 231845 h 413370"/>
                <a:gd name="connsiteX69" fmla="*/ 13494 w 382260"/>
                <a:gd name="connsiteY69" fmla="*/ 229750 h 413370"/>
                <a:gd name="connsiteX70" fmla="*/ 9874 w 382260"/>
                <a:gd name="connsiteY70" fmla="*/ 230607 h 413370"/>
                <a:gd name="connsiteX71" fmla="*/ 6541 w 382260"/>
                <a:gd name="connsiteY71" fmla="*/ 228130 h 413370"/>
                <a:gd name="connsiteX72" fmla="*/ 2826 w 382260"/>
                <a:gd name="connsiteY72" fmla="*/ 226416 h 413370"/>
                <a:gd name="connsiteX73" fmla="*/ 64 w 382260"/>
                <a:gd name="connsiteY73" fmla="*/ 224320 h 413370"/>
                <a:gd name="connsiteX74" fmla="*/ 1778 w 382260"/>
                <a:gd name="connsiteY74" fmla="*/ 222034 h 413370"/>
                <a:gd name="connsiteX75" fmla="*/ 7017 w 382260"/>
                <a:gd name="connsiteY75" fmla="*/ 211938 h 413370"/>
                <a:gd name="connsiteX76" fmla="*/ 10732 w 382260"/>
                <a:gd name="connsiteY76" fmla="*/ 209366 h 413370"/>
                <a:gd name="connsiteX77" fmla="*/ 28448 w 382260"/>
                <a:gd name="connsiteY77" fmla="*/ 206699 h 413370"/>
                <a:gd name="connsiteX78" fmla="*/ 32544 w 382260"/>
                <a:gd name="connsiteY78" fmla="*/ 205175 h 41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82260" h="413370">
                  <a:moveTo>
                    <a:pt x="33115" y="204794"/>
                  </a:moveTo>
                  <a:cubicBezTo>
                    <a:pt x="36830" y="201937"/>
                    <a:pt x="41593" y="202032"/>
                    <a:pt x="45879" y="200889"/>
                  </a:cubicBezTo>
                  <a:cubicBezTo>
                    <a:pt x="50260" y="199651"/>
                    <a:pt x="52927" y="196507"/>
                    <a:pt x="56642" y="194602"/>
                  </a:cubicBezTo>
                  <a:cubicBezTo>
                    <a:pt x="64357" y="190697"/>
                    <a:pt x="71215" y="185173"/>
                    <a:pt x="78264" y="180029"/>
                  </a:cubicBezTo>
                  <a:cubicBezTo>
                    <a:pt x="84741" y="175362"/>
                    <a:pt x="91980" y="171171"/>
                    <a:pt x="97409" y="165456"/>
                  </a:cubicBezTo>
                  <a:cubicBezTo>
                    <a:pt x="105982" y="156407"/>
                    <a:pt x="115888" y="148882"/>
                    <a:pt x="124555" y="139929"/>
                  </a:cubicBezTo>
                  <a:cubicBezTo>
                    <a:pt x="133128" y="131071"/>
                    <a:pt x="141129" y="121736"/>
                    <a:pt x="148463" y="111925"/>
                  </a:cubicBezTo>
                  <a:cubicBezTo>
                    <a:pt x="153035" y="105829"/>
                    <a:pt x="157798" y="99448"/>
                    <a:pt x="160179" y="91923"/>
                  </a:cubicBezTo>
                  <a:cubicBezTo>
                    <a:pt x="160655" y="90399"/>
                    <a:pt x="161322" y="88494"/>
                    <a:pt x="162560" y="87541"/>
                  </a:cubicBezTo>
                  <a:cubicBezTo>
                    <a:pt x="166180" y="84779"/>
                    <a:pt x="166275" y="80874"/>
                    <a:pt x="166751" y="77064"/>
                  </a:cubicBezTo>
                  <a:cubicBezTo>
                    <a:pt x="166846" y="76111"/>
                    <a:pt x="166846" y="75254"/>
                    <a:pt x="167513" y="74397"/>
                  </a:cubicBezTo>
                  <a:cubicBezTo>
                    <a:pt x="172371" y="68491"/>
                    <a:pt x="171704" y="61157"/>
                    <a:pt x="173228" y="54299"/>
                  </a:cubicBezTo>
                  <a:cubicBezTo>
                    <a:pt x="175228" y="45727"/>
                    <a:pt x="174752" y="37249"/>
                    <a:pt x="175609" y="28772"/>
                  </a:cubicBezTo>
                  <a:cubicBezTo>
                    <a:pt x="176276" y="21628"/>
                    <a:pt x="177991" y="14294"/>
                    <a:pt x="175609" y="7055"/>
                  </a:cubicBezTo>
                  <a:cubicBezTo>
                    <a:pt x="175228" y="5912"/>
                    <a:pt x="175324" y="4960"/>
                    <a:pt x="176371" y="4864"/>
                  </a:cubicBezTo>
                  <a:cubicBezTo>
                    <a:pt x="178943" y="4674"/>
                    <a:pt x="178276" y="4102"/>
                    <a:pt x="177419" y="2293"/>
                  </a:cubicBezTo>
                  <a:cubicBezTo>
                    <a:pt x="176752" y="769"/>
                    <a:pt x="178467" y="102"/>
                    <a:pt x="180086" y="7"/>
                  </a:cubicBezTo>
                  <a:cubicBezTo>
                    <a:pt x="184372" y="-184"/>
                    <a:pt x="188468" y="3721"/>
                    <a:pt x="187325" y="7817"/>
                  </a:cubicBezTo>
                  <a:cubicBezTo>
                    <a:pt x="185325" y="14675"/>
                    <a:pt x="187611" y="21152"/>
                    <a:pt x="188373" y="27629"/>
                  </a:cubicBezTo>
                  <a:cubicBezTo>
                    <a:pt x="189516" y="37535"/>
                    <a:pt x="192850" y="47060"/>
                    <a:pt x="195802" y="56490"/>
                  </a:cubicBezTo>
                  <a:cubicBezTo>
                    <a:pt x="197898" y="63062"/>
                    <a:pt x="200279" y="69539"/>
                    <a:pt x="204089" y="75635"/>
                  </a:cubicBezTo>
                  <a:cubicBezTo>
                    <a:pt x="206566" y="79636"/>
                    <a:pt x="206470" y="85732"/>
                    <a:pt x="208852" y="90494"/>
                  </a:cubicBezTo>
                  <a:cubicBezTo>
                    <a:pt x="213900" y="100114"/>
                    <a:pt x="219710" y="109163"/>
                    <a:pt x="225997" y="117926"/>
                  </a:cubicBezTo>
                  <a:cubicBezTo>
                    <a:pt x="232855" y="127546"/>
                    <a:pt x="241618" y="135547"/>
                    <a:pt x="249428" y="144406"/>
                  </a:cubicBezTo>
                  <a:cubicBezTo>
                    <a:pt x="253524" y="148978"/>
                    <a:pt x="258382" y="153169"/>
                    <a:pt x="263620" y="156312"/>
                  </a:cubicBezTo>
                  <a:cubicBezTo>
                    <a:pt x="267621" y="158788"/>
                    <a:pt x="271336" y="161646"/>
                    <a:pt x="274765" y="164599"/>
                  </a:cubicBezTo>
                  <a:cubicBezTo>
                    <a:pt x="281718" y="170695"/>
                    <a:pt x="290386" y="173647"/>
                    <a:pt x="298196" y="178029"/>
                  </a:cubicBezTo>
                  <a:cubicBezTo>
                    <a:pt x="305054" y="181839"/>
                    <a:pt x="311817" y="185935"/>
                    <a:pt x="319342" y="188506"/>
                  </a:cubicBezTo>
                  <a:cubicBezTo>
                    <a:pt x="328390" y="191459"/>
                    <a:pt x="336963" y="195650"/>
                    <a:pt x="345726" y="199079"/>
                  </a:cubicBezTo>
                  <a:cubicBezTo>
                    <a:pt x="356203" y="203175"/>
                    <a:pt x="367252" y="205842"/>
                    <a:pt x="377635" y="210509"/>
                  </a:cubicBezTo>
                  <a:cubicBezTo>
                    <a:pt x="380206" y="211652"/>
                    <a:pt x="380302" y="214129"/>
                    <a:pt x="381730" y="215843"/>
                  </a:cubicBezTo>
                  <a:cubicBezTo>
                    <a:pt x="383254" y="217558"/>
                    <a:pt x="381159" y="219177"/>
                    <a:pt x="379635" y="220987"/>
                  </a:cubicBezTo>
                  <a:cubicBezTo>
                    <a:pt x="378397" y="222511"/>
                    <a:pt x="376968" y="224511"/>
                    <a:pt x="375730" y="226321"/>
                  </a:cubicBezTo>
                  <a:cubicBezTo>
                    <a:pt x="374396" y="228321"/>
                    <a:pt x="372205" y="229083"/>
                    <a:pt x="370110" y="229273"/>
                  </a:cubicBezTo>
                  <a:cubicBezTo>
                    <a:pt x="364966" y="229845"/>
                    <a:pt x="360204" y="231845"/>
                    <a:pt x="355060" y="232607"/>
                  </a:cubicBezTo>
                  <a:cubicBezTo>
                    <a:pt x="352298" y="232988"/>
                    <a:pt x="349726" y="235274"/>
                    <a:pt x="346964" y="236608"/>
                  </a:cubicBezTo>
                  <a:cubicBezTo>
                    <a:pt x="339154" y="240418"/>
                    <a:pt x="330676" y="242894"/>
                    <a:pt x="322961" y="246990"/>
                  </a:cubicBezTo>
                  <a:cubicBezTo>
                    <a:pt x="311436" y="253086"/>
                    <a:pt x="299625" y="258610"/>
                    <a:pt x="288671" y="265849"/>
                  </a:cubicBezTo>
                  <a:cubicBezTo>
                    <a:pt x="281718" y="270517"/>
                    <a:pt x="274479" y="274803"/>
                    <a:pt x="267907" y="279946"/>
                  </a:cubicBezTo>
                  <a:cubicBezTo>
                    <a:pt x="257143" y="288328"/>
                    <a:pt x="245904" y="296234"/>
                    <a:pt x="237998" y="307855"/>
                  </a:cubicBezTo>
                  <a:cubicBezTo>
                    <a:pt x="234379" y="313189"/>
                    <a:pt x="229045" y="317284"/>
                    <a:pt x="225330" y="322714"/>
                  </a:cubicBezTo>
                  <a:cubicBezTo>
                    <a:pt x="215995" y="336144"/>
                    <a:pt x="207423" y="349765"/>
                    <a:pt x="200660" y="364814"/>
                  </a:cubicBezTo>
                  <a:cubicBezTo>
                    <a:pt x="195707" y="375958"/>
                    <a:pt x="191897" y="387484"/>
                    <a:pt x="187135" y="398628"/>
                  </a:cubicBezTo>
                  <a:cubicBezTo>
                    <a:pt x="186563" y="399866"/>
                    <a:pt x="186182" y="401390"/>
                    <a:pt x="186277" y="402724"/>
                  </a:cubicBezTo>
                  <a:cubicBezTo>
                    <a:pt x="186658" y="406915"/>
                    <a:pt x="183515" y="409486"/>
                    <a:pt x="181896" y="412725"/>
                  </a:cubicBezTo>
                  <a:cubicBezTo>
                    <a:pt x="181515" y="413582"/>
                    <a:pt x="180562" y="413487"/>
                    <a:pt x="179896" y="413011"/>
                  </a:cubicBezTo>
                  <a:cubicBezTo>
                    <a:pt x="178753" y="412058"/>
                    <a:pt x="177895" y="410629"/>
                    <a:pt x="176086" y="412439"/>
                  </a:cubicBezTo>
                  <a:cubicBezTo>
                    <a:pt x="175038" y="413582"/>
                    <a:pt x="175133" y="411868"/>
                    <a:pt x="175038" y="411391"/>
                  </a:cubicBezTo>
                  <a:cubicBezTo>
                    <a:pt x="174371" y="408820"/>
                    <a:pt x="174847" y="406438"/>
                    <a:pt x="175038" y="403771"/>
                  </a:cubicBezTo>
                  <a:cubicBezTo>
                    <a:pt x="175705" y="397199"/>
                    <a:pt x="180181" y="390436"/>
                    <a:pt x="173800" y="383769"/>
                  </a:cubicBezTo>
                  <a:cubicBezTo>
                    <a:pt x="171133" y="381007"/>
                    <a:pt x="171514" y="375577"/>
                    <a:pt x="170275" y="371386"/>
                  </a:cubicBezTo>
                  <a:cubicBezTo>
                    <a:pt x="168370" y="365195"/>
                    <a:pt x="168085" y="358718"/>
                    <a:pt x="165703" y="352527"/>
                  </a:cubicBezTo>
                  <a:cubicBezTo>
                    <a:pt x="161608" y="341954"/>
                    <a:pt x="156940" y="331762"/>
                    <a:pt x="152749" y="321285"/>
                  </a:cubicBezTo>
                  <a:cubicBezTo>
                    <a:pt x="145606" y="303473"/>
                    <a:pt x="134842" y="288138"/>
                    <a:pt x="122269" y="274041"/>
                  </a:cubicBezTo>
                  <a:cubicBezTo>
                    <a:pt x="115126" y="265945"/>
                    <a:pt x="107029" y="258610"/>
                    <a:pt x="97219" y="253276"/>
                  </a:cubicBezTo>
                  <a:cubicBezTo>
                    <a:pt x="93218" y="251086"/>
                    <a:pt x="89313" y="248609"/>
                    <a:pt x="85027" y="247276"/>
                  </a:cubicBezTo>
                  <a:cubicBezTo>
                    <a:pt x="81693" y="246228"/>
                    <a:pt x="78454" y="245466"/>
                    <a:pt x="76359" y="242418"/>
                  </a:cubicBezTo>
                  <a:cubicBezTo>
                    <a:pt x="75978" y="241846"/>
                    <a:pt x="75406" y="240703"/>
                    <a:pt x="74930" y="242418"/>
                  </a:cubicBezTo>
                  <a:cubicBezTo>
                    <a:pt x="74168" y="244799"/>
                    <a:pt x="72835" y="243085"/>
                    <a:pt x="71977" y="242799"/>
                  </a:cubicBezTo>
                  <a:cubicBezTo>
                    <a:pt x="69120" y="241561"/>
                    <a:pt x="66358" y="240418"/>
                    <a:pt x="63119" y="240322"/>
                  </a:cubicBezTo>
                  <a:cubicBezTo>
                    <a:pt x="61595" y="240322"/>
                    <a:pt x="61786" y="238513"/>
                    <a:pt x="61119" y="237465"/>
                  </a:cubicBezTo>
                  <a:cubicBezTo>
                    <a:pt x="60357" y="236227"/>
                    <a:pt x="59881" y="234131"/>
                    <a:pt x="58071" y="234512"/>
                  </a:cubicBezTo>
                  <a:cubicBezTo>
                    <a:pt x="52451" y="235655"/>
                    <a:pt x="47498" y="233083"/>
                    <a:pt x="42164" y="232417"/>
                  </a:cubicBezTo>
                  <a:cubicBezTo>
                    <a:pt x="40640" y="232226"/>
                    <a:pt x="39402" y="232798"/>
                    <a:pt x="38640" y="230607"/>
                  </a:cubicBezTo>
                  <a:cubicBezTo>
                    <a:pt x="38259" y="229559"/>
                    <a:pt x="35687" y="228797"/>
                    <a:pt x="34544" y="229940"/>
                  </a:cubicBezTo>
                  <a:cubicBezTo>
                    <a:pt x="33020" y="231369"/>
                    <a:pt x="31687" y="231178"/>
                    <a:pt x="30448" y="230321"/>
                  </a:cubicBezTo>
                  <a:cubicBezTo>
                    <a:pt x="28734" y="229178"/>
                    <a:pt x="27877" y="228988"/>
                    <a:pt x="27305" y="231274"/>
                  </a:cubicBezTo>
                  <a:cubicBezTo>
                    <a:pt x="27115" y="232131"/>
                    <a:pt x="25591" y="233083"/>
                    <a:pt x="25114" y="232321"/>
                  </a:cubicBezTo>
                  <a:cubicBezTo>
                    <a:pt x="22733" y="229178"/>
                    <a:pt x="20352" y="230607"/>
                    <a:pt x="17685" y="231845"/>
                  </a:cubicBezTo>
                  <a:cubicBezTo>
                    <a:pt x="15589" y="232798"/>
                    <a:pt x="14065" y="232131"/>
                    <a:pt x="13494" y="229750"/>
                  </a:cubicBezTo>
                  <a:cubicBezTo>
                    <a:pt x="12065" y="228988"/>
                    <a:pt x="11208" y="230607"/>
                    <a:pt x="9874" y="230607"/>
                  </a:cubicBezTo>
                  <a:cubicBezTo>
                    <a:pt x="8922" y="229654"/>
                    <a:pt x="5398" y="232607"/>
                    <a:pt x="6541" y="228130"/>
                  </a:cubicBezTo>
                  <a:cubicBezTo>
                    <a:pt x="7017" y="226225"/>
                    <a:pt x="4064" y="227273"/>
                    <a:pt x="2826" y="226416"/>
                  </a:cubicBezTo>
                  <a:cubicBezTo>
                    <a:pt x="1873" y="225749"/>
                    <a:pt x="445" y="225940"/>
                    <a:pt x="64" y="224320"/>
                  </a:cubicBezTo>
                  <a:cubicBezTo>
                    <a:pt x="-317" y="222701"/>
                    <a:pt x="1111" y="222415"/>
                    <a:pt x="1778" y="222034"/>
                  </a:cubicBezTo>
                  <a:cubicBezTo>
                    <a:pt x="5874" y="219939"/>
                    <a:pt x="6160" y="215367"/>
                    <a:pt x="7017" y="211938"/>
                  </a:cubicBezTo>
                  <a:cubicBezTo>
                    <a:pt x="7874" y="208890"/>
                    <a:pt x="9779" y="209080"/>
                    <a:pt x="10732" y="209366"/>
                  </a:cubicBezTo>
                  <a:cubicBezTo>
                    <a:pt x="17018" y="210795"/>
                    <a:pt x="22733" y="209080"/>
                    <a:pt x="28448" y="206699"/>
                  </a:cubicBezTo>
                  <a:cubicBezTo>
                    <a:pt x="29782" y="206032"/>
                    <a:pt x="32068" y="208033"/>
                    <a:pt x="32544" y="205175"/>
                  </a:cubicBezTo>
                </a:path>
              </a:pathLst>
            </a:custGeom>
            <a:solidFill>
              <a:srgbClr val="4FE2F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140" name="Picture 1139">
            <a:extLst>
              <a:ext uri="{FF2B5EF4-FFF2-40B4-BE49-F238E27FC236}">
                <a16:creationId xmlns:a16="http://schemas.microsoft.com/office/drawing/2014/main" id="{3AC918CC-90CE-BCB0-CE6D-2ADD132506B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18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834" t="50128" r="10095" b="12323"/>
          <a:stretch/>
        </p:blipFill>
        <p:spPr>
          <a:xfrm rot="10800000">
            <a:off x="8369300" y="3489725"/>
            <a:ext cx="3225799" cy="2949174"/>
          </a:xfrm>
          <a:custGeom>
            <a:avLst/>
            <a:gdLst>
              <a:gd name="connsiteX0" fmla="*/ 3225799 w 3225799"/>
              <a:gd name="connsiteY0" fmla="*/ 2949174 h 2949174"/>
              <a:gd name="connsiteX1" fmla="*/ 0 w 3225799"/>
              <a:gd name="connsiteY1" fmla="*/ 2949174 h 2949174"/>
              <a:gd name="connsiteX2" fmla="*/ 0 w 3225799"/>
              <a:gd name="connsiteY2" fmla="*/ 176363 h 2949174"/>
              <a:gd name="connsiteX3" fmla="*/ 13859 w 3225799"/>
              <a:gd name="connsiteY3" fmla="*/ 107718 h 2949174"/>
              <a:gd name="connsiteX4" fmla="*/ 176367 w 3225799"/>
              <a:gd name="connsiteY4" fmla="*/ 0 h 2949174"/>
              <a:gd name="connsiteX5" fmla="*/ 3225799 w 3225799"/>
              <a:gd name="connsiteY5" fmla="*/ 0 h 294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25799" h="2949174">
                <a:moveTo>
                  <a:pt x="3225799" y="2949174"/>
                </a:moveTo>
                <a:lnTo>
                  <a:pt x="0" y="2949174"/>
                </a:lnTo>
                <a:lnTo>
                  <a:pt x="0" y="176363"/>
                </a:lnTo>
                <a:lnTo>
                  <a:pt x="13859" y="107718"/>
                </a:lnTo>
                <a:cubicBezTo>
                  <a:pt x="40633" y="44417"/>
                  <a:pt x="103313" y="0"/>
                  <a:pt x="176367" y="0"/>
                </a:cubicBezTo>
                <a:lnTo>
                  <a:pt x="3225799" y="0"/>
                </a:lnTo>
                <a:close/>
              </a:path>
            </a:pathLst>
          </a:custGeom>
        </p:spPr>
      </p:pic>
      <p:pic>
        <p:nvPicPr>
          <p:cNvPr id="1141" name="Picture 1140">
            <a:extLst>
              <a:ext uri="{FF2B5EF4-FFF2-40B4-BE49-F238E27FC236}">
                <a16:creationId xmlns:a16="http://schemas.microsoft.com/office/drawing/2014/main" id="{5ED0CBCF-25CD-1A4C-43F6-D6A863DD657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 amt="18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834" t="50128" r="10095" b="12323"/>
          <a:stretch/>
        </p:blipFill>
        <p:spPr>
          <a:xfrm rot="10800000" flipH="1">
            <a:off x="457200" y="3489725"/>
            <a:ext cx="3225799" cy="2949174"/>
          </a:xfrm>
          <a:custGeom>
            <a:avLst/>
            <a:gdLst>
              <a:gd name="connsiteX0" fmla="*/ 3225799 w 3225799"/>
              <a:gd name="connsiteY0" fmla="*/ 2949174 h 2949174"/>
              <a:gd name="connsiteX1" fmla="*/ 0 w 3225799"/>
              <a:gd name="connsiteY1" fmla="*/ 2949174 h 2949174"/>
              <a:gd name="connsiteX2" fmla="*/ 0 w 3225799"/>
              <a:gd name="connsiteY2" fmla="*/ 176363 h 2949174"/>
              <a:gd name="connsiteX3" fmla="*/ 13859 w 3225799"/>
              <a:gd name="connsiteY3" fmla="*/ 107718 h 2949174"/>
              <a:gd name="connsiteX4" fmla="*/ 176367 w 3225799"/>
              <a:gd name="connsiteY4" fmla="*/ 0 h 2949174"/>
              <a:gd name="connsiteX5" fmla="*/ 3225799 w 3225799"/>
              <a:gd name="connsiteY5" fmla="*/ 0 h 2949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25799" h="2949174">
                <a:moveTo>
                  <a:pt x="3225799" y="2949174"/>
                </a:moveTo>
                <a:lnTo>
                  <a:pt x="0" y="2949174"/>
                </a:lnTo>
                <a:lnTo>
                  <a:pt x="0" y="176363"/>
                </a:lnTo>
                <a:lnTo>
                  <a:pt x="13859" y="107718"/>
                </a:lnTo>
                <a:cubicBezTo>
                  <a:pt x="40633" y="44417"/>
                  <a:pt x="103313" y="0"/>
                  <a:pt x="176367" y="0"/>
                </a:cubicBezTo>
                <a:lnTo>
                  <a:pt x="3225799" y="0"/>
                </a:lnTo>
                <a:close/>
              </a:path>
            </a:pathLst>
          </a:custGeom>
        </p:spPr>
      </p:pic>
      <p:sp>
        <p:nvSpPr>
          <p:cNvPr id="1142" name="Rectangle: Rounded Corners 1141">
            <a:extLst>
              <a:ext uri="{FF2B5EF4-FFF2-40B4-BE49-F238E27FC236}">
                <a16:creationId xmlns:a16="http://schemas.microsoft.com/office/drawing/2014/main" id="{11A26961-9A4E-A6D7-D88E-5A185B6AE462}"/>
              </a:ext>
            </a:extLst>
          </p:cNvPr>
          <p:cNvSpPr>
            <a:spLocks/>
          </p:cNvSpPr>
          <p:nvPr/>
        </p:nvSpPr>
        <p:spPr>
          <a:xfrm>
            <a:off x="555625" y="4536770"/>
            <a:ext cx="2656974" cy="1815612"/>
          </a:xfrm>
          <a:prstGeom prst="roundRect">
            <a:avLst>
              <a:gd name="adj" fmla="val 6200"/>
            </a:avLst>
          </a:prstGeom>
          <a:solidFill>
            <a:srgbClr val="011C8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Commercially compostable paper cup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Sizes: 12, 16oz, 22oz, 32oz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Available 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psiCo Partners websit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 or Pepsi Dire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400" i="1">
                <a:solidFill>
                  <a:srgbClr val="FFFFFF"/>
                </a:solidFill>
                <a:latin typeface="Calibri" panose="020F0502020204030204"/>
                <a:sym typeface="Poppins SemiBold"/>
              </a:rPr>
              <a:t>Limited availability for some sizes</a:t>
            </a: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</p:txBody>
      </p:sp>
      <p:sp>
        <p:nvSpPr>
          <p:cNvPr id="1143" name="Rectangle: Rounded Corners 1142">
            <a:extLst>
              <a:ext uri="{FF2B5EF4-FFF2-40B4-BE49-F238E27FC236}">
                <a16:creationId xmlns:a16="http://schemas.microsoft.com/office/drawing/2014/main" id="{B0ED076F-573B-C185-A1DA-F7E580568ECA}"/>
              </a:ext>
            </a:extLst>
          </p:cNvPr>
          <p:cNvSpPr>
            <a:spLocks/>
          </p:cNvSpPr>
          <p:nvPr/>
        </p:nvSpPr>
        <p:spPr>
          <a:xfrm>
            <a:off x="3316983" y="4507706"/>
            <a:ext cx="2656974" cy="1844675"/>
          </a:xfrm>
          <a:prstGeom prst="roundRect">
            <a:avLst>
              <a:gd name="adj" fmla="val 6200"/>
            </a:avLst>
          </a:prstGeom>
          <a:solidFill>
            <a:srgbClr val="011C8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Durable, dishwasher-safe tumbler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Sizes: 16oz, 20oz, 24oz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Available 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psiCo Partners websit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 or Pepsi Direct</a:t>
            </a:r>
          </a:p>
        </p:txBody>
      </p:sp>
      <p:sp>
        <p:nvSpPr>
          <p:cNvPr id="1144" name="Rectangle: Rounded Corners 1143">
            <a:extLst>
              <a:ext uri="{FF2B5EF4-FFF2-40B4-BE49-F238E27FC236}">
                <a16:creationId xmlns:a16="http://schemas.microsoft.com/office/drawing/2014/main" id="{2D41F677-FD84-D06C-208A-0F9588C24D86}"/>
              </a:ext>
            </a:extLst>
          </p:cNvPr>
          <p:cNvSpPr>
            <a:spLocks/>
          </p:cNvSpPr>
          <p:nvPr/>
        </p:nvSpPr>
        <p:spPr>
          <a:xfrm>
            <a:off x="6078342" y="4507708"/>
            <a:ext cx="2656974" cy="1844674"/>
          </a:xfrm>
          <a:prstGeom prst="roundRect">
            <a:avLst>
              <a:gd name="adj" fmla="val 6200"/>
            </a:avLst>
          </a:prstGeom>
          <a:solidFill>
            <a:srgbClr val="011C8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Personal cups for ‘bring-your-own-cup’ program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Multiple styles and siz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Available 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psiCo Premiums websit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C62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</p:txBody>
      </p:sp>
      <p:sp>
        <p:nvSpPr>
          <p:cNvPr id="1145" name="Rectangle: Rounded Corners 1144">
            <a:extLst>
              <a:ext uri="{FF2B5EF4-FFF2-40B4-BE49-F238E27FC236}">
                <a16:creationId xmlns:a16="http://schemas.microsoft.com/office/drawing/2014/main" id="{1EC96D48-2D23-9A53-ADCD-66EFE8884C7F}"/>
              </a:ext>
            </a:extLst>
          </p:cNvPr>
          <p:cNvSpPr>
            <a:spLocks/>
          </p:cNvSpPr>
          <p:nvPr/>
        </p:nvSpPr>
        <p:spPr>
          <a:xfrm>
            <a:off x="8839701" y="4507708"/>
            <a:ext cx="2663850" cy="1844674"/>
          </a:xfrm>
          <a:prstGeom prst="roundRect">
            <a:avLst>
              <a:gd name="adj" fmla="val 6200"/>
            </a:avLst>
          </a:prstGeom>
          <a:solidFill>
            <a:srgbClr val="011C8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0" rtlCol="0" anchor="t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*NEW* updated desig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Durable, dishwasher-safe tumblers </a:t>
            </a:r>
            <a:endParaRPr lang="en-US" sz="1400">
              <a:solidFill>
                <a:srgbClr val="FFFFFF"/>
              </a:solidFill>
              <a:latin typeface="Calibri" panose="020F0502020204030204"/>
              <a:sym typeface="Poppins SemiBold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Sizes: 20oz, 24oz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US" sz="1400" i="1">
                <a:solidFill>
                  <a:srgbClr val="FFFFFF"/>
                </a:solidFill>
                <a:latin typeface="Calibri" panose="020F0502020204030204"/>
                <a:sym typeface="Poppins SemiBold"/>
              </a:rPr>
              <a:t>20oz glasses, January 2025</a:t>
            </a: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Available 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psiCo Premiums websit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 </a:t>
            </a:r>
            <a:r>
              <a:rPr lang="en-US" sz="1400">
                <a:solidFill>
                  <a:schemeClr val="bg1"/>
                </a:solidFill>
                <a:latin typeface="Calibri" panose="020F0502020204030204"/>
                <a:sym typeface="Poppins SemiBold"/>
              </a:rPr>
              <a:t>or POS Direc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</p:txBody>
      </p:sp>
      <p:pic>
        <p:nvPicPr>
          <p:cNvPr id="1132" name="Picture 1131">
            <a:extLst>
              <a:ext uri="{FF2B5EF4-FFF2-40B4-BE49-F238E27FC236}">
                <a16:creationId xmlns:a16="http://schemas.microsoft.com/office/drawing/2014/main" id="{6D50278D-F11A-E3AA-4D1B-C98395A5505C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 flipV="1">
            <a:off x="11108585" y="5774583"/>
            <a:ext cx="1066800" cy="1100033"/>
          </a:xfrm>
          <a:prstGeom prst="rect">
            <a:avLst/>
          </a:prstGeom>
        </p:spPr>
      </p:pic>
      <p:sp>
        <p:nvSpPr>
          <p:cNvPr id="1147" name="Rectangle 1146">
            <a:extLst>
              <a:ext uri="{FF2B5EF4-FFF2-40B4-BE49-F238E27FC236}">
                <a16:creationId xmlns:a16="http://schemas.microsoft.com/office/drawing/2014/main" id="{D9FDDD83-37CD-0F7B-E400-990960594A0B}"/>
              </a:ext>
            </a:extLst>
          </p:cNvPr>
          <p:cNvSpPr>
            <a:spLocks/>
          </p:cNvSpPr>
          <p:nvPr/>
        </p:nvSpPr>
        <p:spPr>
          <a:xfrm>
            <a:off x="457199" y="1910263"/>
            <a:ext cx="11137900" cy="442412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8" name="Rectangle: Rounded Corners 1147">
            <a:extLst>
              <a:ext uri="{FF2B5EF4-FFF2-40B4-BE49-F238E27FC236}">
                <a16:creationId xmlns:a16="http://schemas.microsoft.com/office/drawing/2014/main" id="{423BEC2E-774B-F7EC-0CD6-EBE2DC702FAC}"/>
              </a:ext>
            </a:extLst>
          </p:cNvPr>
          <p:cNvSpPr>
            <a:spLocks/>
          </p:cNvSpPr>
          <p:nvPr/>
        </p:nvSpPr>
        <p:spPr>
          <a:xfrm>
            <a:off x="555625" y="1910263"/>
            <a:ext cx="2656974" cy="442412"/>
          </a:xfrm>
          <a:prstGeom prst="roundRect">
            <a:avLst>
              <a:gd name="adj" fmla="val 19700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ostable Cups</a:t>
            </a:r>
          </a:p>
        </p:txBody>
      </p:sp>
      <p:sp>
        <p:nvSpPr>
          <p:cNvPr id="1149" name="Rectangle: Rounded Corners 1148">
            <a:extLst>
              <a:ext uri="{FF2B5EF4-FFF2-40B4-BE49-F238E27FC236}">
                <a16:creationId xmlns:a16="http://schemas.microsoft.com/office/drawing/2014/main" id="{2E6745BE-C297-843F-CE0A-8068E485655B}"/>
              </a:ext>
            </a:extLst>
          </p:cNvPr>
          <p:cNvSpPr>
            <a:spLocks/>
          </p:cNvSpPr>
          <p:nvPr/>
        </p:nvSpPr>
        <p:spPr>
          <a:xfrm>
            <a:off x="3316983" y="1910263"/>
            <a:ext cx="2656974" cy="442412"/>
          </a:xfrm>
          <a:prstGeom prst="roundRect">
            <a:avLst>
              <a:gd name="adj" fmla="val 19700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mblers</a:t>
            </a:r>
          </a:p>
        </p:txBody>
      </p:sp>
      <p:sp>
        <p:nvSpPr>
          <p:cNvPr id="1150" name="Rectangle: Rounded Corners 1149">
            <a:extLst>
              <a:ext uri="{FF2B5EF4-FFF2-40B4-BE49-F238E27FC236}">
                <a16:creationId xmlns:a16="http://schemas.microsoft.com/office/drawing/2014/main" id="{63F80958-1474-5443-CDAD-77717348F52A}"/>
              </a:ext>
            </a:extLst>
          </p:cNvPr>
          <p:cNvSpPr>
            <a:spLocks/>
          </p:cNvSpPr>
          <p:nvPr/>
        </p:nvSpPr>
        <p:spPr>
          <a:xfrm>
            <a:off x="6078342" y="1910263"/>
            <a:ext cx="2656974" cy="442412"/>
          </a:xfrm>
          <a:prstGeom prst="roundRect">
            <a:avLst>
              <a:gd name="adj" fmla="val 19700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al Cups</a:t>
            </a:r>
          </a:p>
        </p:txBody>
      </p:sp>
      <p:sp>
        <p:nvSpPr>
          <p:cNvPr id="1151" name="Rectangle: Rounded Corners 1150">
            <a:extLst>
              <a:ext uri="{FF2B5EF4-FFF2-40B4-BE49-F238E27FC236}">
                <a16:creationId xmlns:a16="http://schemas.microsoft.com/office/drawing/2014/main" id="{D42EA6B1-84F2-8F0B-40D0-486133AC6157}"/>
              </a:ext>
            </a:extLst>
          </p:cNvPr>
          <p:cNvSpPr>
            <a:spLocks/>
          </p:cNvSpPr>
          <p:nvPr/>
        </p:nvSpPr>
        <p:spPr>
          <a:xfrm>
            <a:off x="8839701" y="1910263"/>
            <a:ext cx="2656974" cy="442412"/>
          </a:xfrm>
          <a:prstGeom prst="roundRect">
            <a:avLst>
              <a:gd name="adj" fmla="val 19700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quity Tumblers</a:t>
            </a:r>
          </a:p>
        </p:txBody>
      </p:sp>
      <p:cxnSp>
        <p:nvCxnSpPr>
          <p:cNvPr id="1154" name="Straight Connector 1153">
            <a:extLst>
              <a:ext uri="{FF2B5EF4-FFF2-40B4-BE49-F238E27FC236}">
                <a16:creationId xmlns:a16="http://schemas.microsoft.com/office/drawing/2014/main" id="{7DA5887F-DBA0-1D87-19E4-6CF159DBAD87}"/>
              </a:ext>
            </a:extLst>
          </p:cNvPr>
          <p:cNvCxnSpPr>
            <a:cxnSpLocks/>
          </p:cNvCxnSpPr>
          <p:nvPr/>
        </p:nvCxnSpPr>
        <p:spPr>
          <a:xfrm>
            <a:off x="3264791" y="1961335"/>
            <a:ext cx="0" cy="3402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5" name="Straight Connector 1154">
            <a:extLst>
              <a:ext uri="{FF2B5EF4-FFF2-40B4-BE49-F238E27FC236}">
                <a16:creationId xmlns:a16="http://schemas.microsoft.com/office/drawing/2014/main" id="{504755A6-6916-C23B-A7D0-4FC92858F80E}"/>
              </a:ext>
            </a:extLst>
          </p:cNvPr>
          <p:cNvCxnSpPr>
            <a:cxnSpLocks/>
          </p:cNvCxnSpPr>
          <p:nvPr/>
        </p:nvCxnSpPr>
        <p:spPr>
          <a:xfrm>
            <a:off x="6026149" y="1961335"/>
            <a:ext cx="0" cy="3402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6" name="Straight Connector 1155">
            <a:extLst>
              <a:ext uri="{FF2B5EF4-FFF2-40B4-BE49-F238E27FC236}">
                <a16:creationId xmlns:a16="http://schemas.microsoft.com/office/drawing/2014/main" id="{58CDD298-1FB5-F308-E091-B0C8B8D5D91E}"/>
              </a:ext>
            </a:extLst>
          </p:cNvPr>
          <p:cNvCxnSpPr>
            <a:cxnSpLocks/>
          </p:cNvCxnSpPr>
          <p:nvPr/>
        </p:nvCxnSpPr>
        <p:spPr>
          <a:xfrm>
            <a:off x="8787507" y="1961335"/>
            <a:ext cx="0" cy="3402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" name="Straight Connector 1156">
            <a:extLst>
              <a:ext uri="{FF2B5EF4-FFF2-40B4-BE49-F238E27FC236}">
                <a16:creationId xmlns:a16="http://schemas.microsoft.com/office/drawing/2014/main" id="{89EC63D2-6079-6A05-89D8-FA66F3D497C4}"/>
              </a:ext>
            </a:extLst>
          </p:cNvPr>
          <p:cNvCxnSpPr>
            <a:cxnSpLocks/>
          </p:cNvCxnSpPr>
          <p:nvPr/>
        </p:nvCxnSpPr>
        <p:spPr>
          <a:xfrm>
            <a:off x="3264791" y="2404395"/>
            <a:ext cx="0" cy="1995307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alpha val="0"/>
                  </a:schemeClr>
                </a:gs>
                <a:gs pos="52000">
                  <a:schemeClr val="accent4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8" name="Straight Connector 1157">
            <a:extLst>
              <a:ext uri="{FF2B5EF4-FFF2-40B4-BE49-F238E27FC236}">
                <a16:creationId xmlns:a16="http://schemas.microsoft.com/office/drawing/2014/main" id="{B5A3CCD6-B35B-F04B-64BE-5550DEA27068}"/>
              </a:ext>
            </a:extLst>
          </p:cNvPr>
          <p:cNvCxnSpPr>
            <a:cxnSpLocks/>
          </p:cNvCxnSpPr>
          <p:nvPr/>
        </p:nvCxnSpPr>
        <p:spPr>
          <a:xfrm>
            <a:off x="6026149" y="2404395"/>
            <a:ext cx="0" cy="1995307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alpha val="0"/>
                  </a:schemeClr>
                </a:gs>
                <a:gs pos="52000">
                  <a:schemeClr val="accent4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9" name="Straight Connector 1158">
            <a:extLst>
              <a:ext uri="{FF2B5EF4-FFF2-40B4-BE49-F238E27FC236}">
                <a16:creationId xmlns:a16="http://schemas.microsoft.com/office/drawing/2014/main" id="{BB674BF4-D666-0EF3-2319-A5D209EE47CC}"/>
              </a:ext>
            </a:extLst>
          </p:cNvPr>
          <p:cNvCxnSpPr>
            <a:cxnSpLocks/>
          </p:cNvCxnSpPr>
          <p:nvPr/>
        </p:nvCxnSpPr>
        <p:spPr>
          <a:xfrm>
            <a:off x="8787507" y="2404395"/>
            <a:ext cx="0" cy="1995307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alpha val="0"/>
                  </a:schemeClr>
                </a:gs>
                <a:gs pos="52000">
                  <a:schemeClr val="accent4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66" name="Picture 1165">
            <a:extLst>
              <a:ext uri="{FF2B5EF4-FFF2-40B4-BE49-F238E27FC236}">
                <a16:creationId xmlns:a16="http://schemas.microsoft.com/office/drawing/2014/main" id="{291529E8-781D-2973-72BC-72E7110B349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944" r="21531"/>
          <a:stretch/>
        </p:blipFill>
        <p:spPr>
          <a:xfrm>
            <a:off x="7054174" y="2401124"/>
            <a:ext cx="947042" cy="1992702"/>
          </a:xfrm>
          <a:prstGeom prst="rect">
            <a:avLst/>
          </a:prstGeom>
        </p:spPr>
      </p:pic>
      <p:pic>
        <p:nvPicPr>
          <p:cNvPr id="1167" name="Picture 1166">
            <a:extLst>
              <a:ext uri="{FF2B5EF4-FFF2-40B4-BE49-F238E27FC236}">
                <a16:creationId xmlns:a16="http://schemas.microsoft.com/office/drawing/2014/main" id="{ABCF063B-5FD3-A407-F178-E62F2802E39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76898" y="2557463"/>
            <a:ext cx="2382580" cy="1745456"/>
          </a:xfrm>
          <a:prstGeom prst="rect">
            <a:avLst/>
          </a:prstGeom>
        </p:spPr>
      </p:pic>
      <p:sp>
        <p:nvSpPr>
          <p:cNvPr id="1168" name="Rectangle: Rounded Corners 1167">
            <a:extLst>
              <a:ext uri="{FF2B5EF4-FFF2-40B4-BE49-F238E27FC236}">
                <a16:creationId xmlns:a16="http://schemas.microsoft.com/office/drawing/2014/main" id="{3424C657-ACEB-D6DF-37E4-990C0658B97F}"/>
              </a:ext>
            </a:extLst>
          </p:cNvPr>
          <p:cNvSpPr>
            <a:spLocks/>
          </p:cNvSpPr>
          <p:nvPr/>
        </p:nvSpPr>
        <p:spPr>
          <a:xfrm>
            <a:off x="555625" y="1390323"/>
            <a:ext cx="2709166" cy="391343"/>
          </a:xfrm>
          <a:prstGeom prst="roundRect">
            <a:avLst>
              <a:gd name="adj" fmla="val 50000"/>
            </a:avLst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C6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-use</a:t>
            </a:r>
          </a:p>
        </p:txBody>
      </p:sp>
      <p:pic>
        <p:nvPicPr>
          <p:cNvPr id="1172" name="Picture 1171">
            <a:extLst>
              <a:ext uri="{FF2B5EF4-FFF2-40B4-BE49-F238E27FC236}">
                <a16:creationId xmlns:a16="http://schemas.microsoft.com/office/drawing/2014/main" id="{4EC9D4A3-467F-8B58-AC01-B2428F3924E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678" t="11806" r="27678" b="3314"/>
          <a:stretch/>
        </p:blipFill>
        <p:spPr>
          <a:xfrm>
            <a:off x="4123627" y="2439075"/>
            <a:ext cx="1043686" cy="198223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0EF5273-2757-0EC6-2D29-37DD8ECC1A8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0A3BB78-E1A4-A9BC-C2B2-833C105E6074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EE3F35-5EAA-0344-B6FC-083E415BACD9}" type="slidenum">
              <a:rPr kumimoji="0" lang="en-US" sz="700" b="0" i="0" u="none" strike="noStrike" kern="1200" cap="none" spc="30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63" name="Picture 2" descr="NatureWorks | Taco Time Embraces Seattle Waste Ordinance">
            <a:extLst>
              <a:ext uri="{FF2B5EF4-FFF2-40B4-BE49-F238E27FC236}">
                <a16:creationId xmlns:a16="http://schemas.microsoft.com/office/drawing/2014/main" id="{BE1B5351-77D5-354D-30B9-A3BA124F3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6537" y="4122589"/>
            <a:ext cx="1296062" cy="302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A cup with ice in it&#10;&#10;Description automatically generated">
            <a:extLst>
              <a:ext uri="{FF2B5EF4-FFF2-40B4-BE49-F238E27FC236}">
                <a16:creationId xmlns:a16="http://schemas.microsoft.com/office/drawing/2014/main" id="{4BCFB03E-9588-EB33-5088-84E9A05D1037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82" y="2433840"/>
            <a:ext cx="1665584" cy="1665584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84D02EF-010A-E8D1-B9CB-B8E2D87E7B31}"/>
              </a:ext>
            </a:extLst>
          </p:cNvPr>
          <p:cNvSpPr>
            <a:spLocks/>
          </p:cNvSpPr>
          <p:nvPr/>
        </p:nvSpPr>
        <p:spPr>
          <a:xfrm>
            <a:off x="3316983" y="1391977"/>
            <a:ext cx="8179692" cy="391343"/>
          </a:xfrm>
          <a:prstGeom prst="roundRect">
            <a:avLst>
              <a:gd name="adj" fmla="val 50000"/>
            </a:avLst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C6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usable Vessel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AD5D69-65BC-346F-760C-E3122039DFCB}"/>
              </a:ext>
            </a:extLst>
          </p:cNvPr>
          <p:cNvGrpSpPr/>
          <p:nvPr/>
        </p:nvGrpSpPr>
        <p:grpSpPr>
          <a:xfrm>
            <a:off x="-180326" y="77976"/>
            <a:ext cx="1826584" cy="897815"/>
            <a:chOff x="4744304" y="4019935"/>
            <a:chExt cx="2431183" cy="119499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F471AB0-E276-0DBD-0D71-49B86D7FB9F9}"/>
                </a:ext>
              </a:extLst>
            </p:cNvPr>
            <p:cNvSpPr txBox="1"/>
            <p:nvPr/>
          </p:nvSpPr>
          <p:spPr>
            <a:xfrm>
              <a:off x="4744304" y="4722484"/>
              <a:ext cx="2431183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OSITIVE</a:t>
              </a:r>
              <a:b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ALUE CHAIN</a:t>
              </a:r>
            </a:p>
          </p:txBody>
        </p:sp>
        <p:pic>
          <p:nvPicPr>
            <p:cNvPr id="7" name="Picture 6" descr="A blue and green windmill with arrows around it&#10;&#10;Description automatically generated">
              <a:extLst>
                <a:ext uri="{FF2B5EF4-FFF2-40B4-BE49-F238E27FC236}">
                  <a16:creationId xmlns:a16="http://schemas.microsoft.com/office/drawing/2014/main" id="{053921F9-6ADB-656A-8743-A6D848E12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0575" y="4019935"/>
              <a:ext cx="656095" cy="6560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8267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Freeform: Shape 1030">
            <a:extLst>
              <a:ext uri="{FF2B5EF4-FFF2-40B4-BE49-F238E27FC236}">
                <a16:creationId xmlns:a16="http://schemas.microsoft.com/office/drawing/2014/main" id="{7BE746D4-755C-C2A2-B06B-A4E33370C64D}"/>
              </a:ext>
            </a:extLst>
          </p:cNvPr>
          <p:cNvSpPr>
            <a:spLocks/>
          </p:cNvSpPr>
          <p:nvPr/>
        </p:nvSpPr>
        <p:spPr>
          <a:xfrm>
            <a:off x="0" y="110248"/>
            <a:ext cx="11700308" cy="4038181"/>
          </a:xfrm>
          <a:custGeom>
            <a:avLst/>
            <a:gdLst>
              <a:gd name="connsiteX0" fmla="*/ 99578 w 11700308"/>
              <a:gd name="connsiteY0" fmla="*/ 0 h 4038181"/>
              <a:gd name="connsiteX1" fmla="*/ 11175168 w 11700308"/>
              <a:gd name="connsiteY1" fmla="*/ 0 h 4038181"/>
              <a:gd name="connsiteX2" fmla="*/ 11700308 w 11700308"/>
              <a:gd name="connsiteY2" fmla="*/ 525178 h 4038181"/>
              <a:gd name="connsiteX3" fmla="*/ 11175168 w 11700308"/>
              <a:gd name="connsiteY3" fmla="*/ 1050353 h 4038181"/>
              <a:gd name="connsiteX4" fmla="*/ 573925 w 11700308"/>
              <a:gd name="connsiteY4" fmla="*/ 1050353 h 4038181"/>
              <a:gd name="connsiteX5" fmla="*/ 353526 w 11700308"/>
              <a:gd name="connsiteY5" fmla="*/ 1271012 h 4038181"/>
              <a:gd name="connsiteX6" fmla="*/ 353526 w 11700308"/>
              <a:gd name="connsiteY6" fmla="*/ 2118602 h 4038181"/>
              <a:gd name="connsiteX7" fmla="*/ 353526 w 11700308"/>
              <a:gd name="connsiteY7" fmla="*/ 2118603 h 4038181"/>
              <a:gd name="connsiteX8" fmla="*/ 353526 w 11700308"/>
              <a:gd name="connsiteY8" fmla="*/ 2975852 h 4038181"/>
              <a:gd name="connsiteX9" fmla="*/ 353526 w 11700308"/>
              <a:gd name="connsiteY9" fmla="*/ 2975852 h 4038181"/>
              <a:gd name="connsiteX10" fmla="*/ 353526 w 11700308"/>
              <a:gd name="connsiteY10" fmla="*/ 3518957 h 4038181"/>
              <a:gd name="connsiteX11" fmla="*/ 11790 w 11700308"/>
              <a:gd name="connsiteY11" fmla="*/ 4034517 h 4038181"/>
              <a:gd name="connsiteX12" fmla="*/ 0 w 11700308"/>
              <a:gd name="connsiteY12" fmla="*/ 4038181 h 4038181"/>
              <a:gd name="connsiteX13" fmla="*/ 0 w 11700308"/>
              <a:gd name="connsiteY13" fmla="*/ 2659146 h 4038181"/>
              <a:gd name="connsiteX14" fmla="*/ 99578 w 11700308"/>
              <a:gd name="connsiteY14" fmla="*/ 2659146 h 4038181"/>
              <a:gd name="connsiteX15" fmla="*/ 99578 w 11700308"/>
              <a:gd name="connsiteY15" fmla="*/ 2118603 h 4038181"/>
              <a:gd name="connsiteX16" fmla="*/ 99578 w 11700308"/>
              <a:gd name="connsiteY16" fmla="*/ 2118602 h 4038181"/>
              <a:gd name="connsiteX17" fmla="*/ 99578 w 11700308"/>
              <a:gd name="connsiteY17" fmla="*/ 642536 h 4038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1700308" h="4038181">
                <a:moveTo>
                  <a:pt x="99578" y="0"/>
                </a:moveTo>
                <a:lnTo>
                  <a:pt x="11175168" y="0"/>
                </a:lnTo>
                <a:cubicBezTo>
                  <a:pt x="11465148" y="0"/>
                  <a:pt x="11700308" y="235130"/>
                  <a:pt x="11700308" y="525178"/>
                </a:cubicBezTo>
                <a:cubicBezTo>
                  <a:pt x="11700308" y="815223"/>
                  <a:pt x="11465148" y="1050353"/>
                  <a:pt x="11175168" y="1050353"/>
                </a:cubicBezTo>
                <a:lnTo>
                  <a:pt x="573925" y="1050353"/>
                </a:lnTo>
                <a:cubicBezTo>
                  <a:pt x="452203" y="1050353"/>
                  <a:pt x="353526" y="1149147"/>
                  <a:pt x="353526" y="1271012"/>
                </a:cubicBezTo>
                <a:lnTo>
                  <a:pt x="353526" y="2118602"/>
                </a:lnTo>
                <a:lnTo>
                  <a:pt x="353526" y="2118603"/>
                </a:lnTo>
                <a:lnTo>
                  <a:pt x="353526" y="2975852"/>
                </a:lnTo>
                <a:lnTo>
                  <a:pt x="353526" y="2975852"/>
                </a:lnTo>
                <a:lnTo>
                  <a:pt x="353526" y="3518957"/>
                </a:lnTo>
                <a:cubicBezTo>
                  <a:pt x="353526" y="3750725"/>
                  <a:pt x="212614" y="3949583"/>
                  <a:pt x="11790" y="4034517"/>
                </a:cubicBezTo>
                <a:lnTo>
                  <a:pt x="0" y="4038181"/>
                </a:lnTo>
                <a:lnTo>
                  <a:pt x="0" y="2659146"/>
                </a:lnTo>
                <a:lnTo>
                  <a:pt x="99578" y="2659146"/>
                </a:lnTo>
                <a:lnTo>
                  <a:pt x="99578" y="2118603"/>
                </a:lnTo>
                <a:lnTo>
                  <a:pt x="99578" y="2118602"/>
                </a:lnTo>
                <a:lnTo>
                  <a:pt x="99578" y="642536"/>
                </a:lnTo>
                <a:close/>
              </a:path>
            </a:pathLst>
          </a:custGeom>
          <a:solidFill>
            <a:srgbClr val="00C04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Graphic 154">
            <a:extLst>
              <a:ext uri="{FF2B5EF4-FFF2-40B4-BE49-F238E27FC236}">
                <a16:creationId xmlns:a16="http://schemas.microsoft.com/office/drawing/2014/main" id="{313C4CDB-CCEE-D4A7-53EE-DE527B948366}"/>
              </a:ext>
            </a:extLst>
          </p:cNvPr>
          <p:cNvSpPr>
            <a:spLocks/>
          </p:cNvSpPr>
          <p:nvPr/>
        </p:nvSpPr>
        <p:spPr>
          <a:xfrm>
            <a:off x="0" y="0"/>
            <a:ext cx="11799886" cy="4034547"/>
          </a:xfrm>
          <a:custGeom>
            <a:avLst/>
            <a:gdLst>
              <a:gd name="connsiteX0" fmla="*/ 0 w 12192000"/>
              <a:gd name="connsiteY0" fmla="*/ 0 h 4163698"/>
              <a:gd name="connsiteX1" fmla="*/ 11640094 w 12192000"/>
              <a:gd name="connsiteY1" fmla="*/ 0 h 4163698"/>
              <a:gd name="connsiteX2" fmla="*/ 12192000 w 12192000"/>
              <a:gd name="connsiteY2" fmla="*/ 551294 h 4163698"/>
              <a:gd name="connsiteX3" fmla="*/ 11640094 w 12192000"/>
              <a:gd name="connsiteY3" fmla="*/ 1102585 h 4163698"/>
              <a:gd name="connsiteX4" fmla="*/ 498524 w 12192000"/>
              <a:gd name="connsiteY4" fmla="*/ 1102585 h 4163698"/>
              <a:gd name="connsiteX5" fmla="*/ 266891 w 12192000"/>
              <a:gd name="connsiteY5" fmla="*/ 1334217 h 4163698"/>
              <a:gd name="connsiteX6" fmla="*/ 266891 w 12192000"/>
              <a:gd name="connsiteY6" fmla="*/ 3772177 h 4163698"/>
              <a:gd name="connsiteX7" fmla="*/ 8901 w 12192000"/>
              <a:gd name="connsiteY7" fmla="*/ 4160935 h 4163698"/>
              <a:gd name="connsiteX8" fmla="*/ 0 w 12192000"/>
              <a:gd name="connsiteY8" fmla="*/ 4163698 h 4163698"/>
              <a:gd name="connsiteX9" fmla="*/ 0 w 12192000"/>
              <a:gd name="connsiteY9" fmla="*/ 674488 h 4163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4163698">
                <a:moveTo>
                  <a:pt x="0" y="0"/>
                </a:moveTo>
                <a:lnTo>
                  <a:pt x="11640094" y="0"/>
                </a:lnTo>
                <a:cubicBezTo>
                  <a:pt x="11944854" y="0"/>
                  <a:pt x="12192000" y="246823"/>
                  <a:pt x="12192000" y="551294"/>
                </a:cubicBezTo>
                <a:cubicBezTo>
                  <a:pt x="12192000" y="855762"/>
                  <a:pt x="11944854" y="1102585"/>
                  <a:pt x="11640094" y="1102585"/>
                </a:cubicBezTo>
                <a:lnTo>
                  <a:pt x="498524" y="1102585"/>
                </a:lnTo>
                <a:cubicBezTo>
                  <a:pt x="370597" y="1102585"/>
                  <a:pt x="266891" y="1206292"/>
                  <a:pt x="266891" y="1334217"/>
                </a:cubicBezTo>
                <a:lnTo>
                  <a:pt x="266891" y="3772177"/>
                </a:lnTo>
                <a:cubicBezTo>
                  <a:pt x="266891" y="3946942"/>
                  <a:pt x="160511" y="4096890"/>
                  <a:pt x="8901" y="4160935"/>
                </a:cubicBezTo>
                <a:lnTo>
                  <a:pt x="0" y="4163698"/>
                </a:lnTo>
                <a:lnTo>
                  <a:pt x="0" y="674488"/>
                </a:lnTo>
                <a:close/>
              </a:path>
            </a:pathLst>
          </a:custGeom>
          <a:solidFill>
            <a:srgbClr val="133CCF"/>
          </a:solidFill>
          <a:ln>
            <a:noFill/>
          </a:ln>
          <a:effectLst>
            <a:innerShdw blurRad="177800" dist="50800" dir="27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Graphic 154">
            <a:extLst>
              <a:ext uri="{FF2B5EF4-FFF2-40B4-BE49-F238E27FC236}">
                <a16:creationId xmlns:a16="http://schemas.microsoft.com/office/drawing/2014/main" id="{61CEBBA5-A655-241A-AD96-ACED8A6F1267}"/>
              </a:ext>
            </a:extLst>
          </p:cNvPr>
          <p:cNvSpPr>
            <a:spLocks/>
          </p:cNvSpPr>
          <p:nvPr/>
        </p:nvSpPr>
        <p:spPr>
          <a:xfrm>
            <a:off x="0" y="0"/>
            <a:ext cx="11799886" cy="4034547"/>
          </a:xfrm>
          <a:custGeom>
            <a:avLst/>
            <a:gdLst>
              <a:gd name="connsiteX0" fmla="*/ 0 w 12192000"/>
              <a:gd name="connsiteY0" fmla="*/ 0 h 4163698"/>
              <a:gd name="connsiteX1" fmla="*/ 11640094 w 12192000"/>
              <a:gd name="connsiteY1" fmla="*/ 0 h 4163698"/>
              <a:gd name="connsiteX2" fmla="*/ 12192000 w 12192000"/>
              <a:gd name="connsiteY2" fmla="*/ 551294 h 4163698"/>
              <a:gd name="connsiteX3" fmla="*/ 11640094 w 12192000"/>
              <a:gd name="connsiteY3" fmla="*/ 1102585 h 4163698"/>
              <a:gd name="connsiteX4" fmla="*/ 498524 w 12192000"/>
              <a:gd name="connsiteY4" fmla="*/ 1102585 h 4163698"/>
              <a:gd name="connsiteX5" fmla="*/ 266891 w 12192000"/>
              <a:gd name="connsiteY5" fmla="*/ 1334217 h 4163698"/>
              <a:gd name="connsiteX6" fmla="*/ 266891 w 12192000"/>
              <a:gd name="connsiteY6" fmla="*/ 3772177 h 4163698"/>
              <a:gd name="connsiteX7" fmla="*/ 8901 w 12192000"/>
              <a:gd name="connsiteY7" fmla="*/ 4160935 h 4163698"/>
              <a:gd name="connsiteX8" fmla="*/ 0 w 12192000"/>
              <a:gd name="connsiteY8" fmla="*/ 4163698 h 4163698"/>
              <a:gd name="connsiteX9" fmla="*/ 0 w 12192000"/>
              <a:gd name="connsiteY9" fmla="*/ 674488 h 4163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4163698">
                <a:moveTo>
                  <a:pt x="0" y="0"/>
                </a:moveTo>
                <a:lnTo>
                  <a:pt x="11640094" y="0"/>
                </a:lnTo>
                <a:cubicBezTo>
                  <a:pt x="11944854" y="0"/>
                  <a:pt x="12192000" y="246823"/>
                  <a:pt x="12192000" y="551294"/>
                </a:cubicBezTo>
                <a:cubicBezTo>
                  <a:pt x="12192000" y="855762"/>
                  <a:pt x="11944854" y="1102585"/>
                  <a:pt x="11640094" y="1102585"/>
                </a:cubicBezTo>
                <a:lnTo>
                  <a:pt x="498524" y="1102585"/>
                </a:lnTo>
                <a:cubicBezTo>
                  <a:pt x="370597" y="1102585"/>
                  <a:pt x="266891" y="1206292"/>
                  <a:pt x="266891" y="1334217"/>
                </a:cubicBezTo>
                <a:lnTo>
                  <a:pt x="266891" y="3772177"/>
                </a:lnTo>
                <a:cubicBezTo>
                  <a:pt x="266891" y="3946942"/>
                  <a:pt x="160511" y="4096890"/>
                  <a:pt x="8901" y="4160935"/>
                </a:cubicBezTo>
                <a:lnTo>
                  <a:pt x="0" y="4163698"/>
                </a:lnTo>
                <a:lnTo>
                  <a:pt x="0" y="674488"/>
                </a:lnTo>
                <a:close/>
              </a:path>
            </a:pathLst>
          </a:custGeom>
          <a:solidFill>
            <a:srgbClr val="133CCF"/>
          </a:solidFill>
          <a:ln>
            <a:noFill/>
          </a:ln>
          <a:effectLst>
            <a:innerShdw blurRad="177800" dist="50800" dir="27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9F16F72-0CF9-53EA-D6AE-4E868A197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F16F72-0CF9-53EA-D6AE-4E868A197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F74A5B6-E133-D784-1956-EEE863625ECB}"/>
              </a:ext>
            </a:extLst>
          </p:cNvPr>
          <p:cNvSpPr>
            <a:spLocks/>
          </p:cNvSpPr>
          <p:nvPr/>
        </p:nvSpPr>
        <p:spPr>
          <a:xfrm>
            <a:off x="490558" y="1236377"/>
            <a:ext cx="11137900" cy="5172075"/>
          </a:xfrm>
          <a:prstGeom prst="roundRect">
            <a:avLst>
              <a:gd name="adj" fmla="val 3410"/>
            </a:avLst>
          </a:prstGeom>
          <a:solidFill>
            <a:schemeClr val="accent5">
              <a:lumMod val="60000"/>
              <a:lumOff val="40000"/>
              <a:alpha val="46000"/>
            </a:schemeClr>
          </a:solidFill>
          <a:ln>
            <a:solidFill>
              <a:schemeClr val="bg1">
                <a:alpha val="4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30">
            <a:extLst>
              <a:ext uri="{FF2B5EF4-FFF2-40B4-BE49-F238E27FC236}">
                <a16:creationId xmlns:a16="http://schemas.microsoft.com/office/drawing/2014/main" id="{2D806CA8-DDAD-8DA9-BD64-5EA947BBF58E}"/>
              </a:ext>
            </a:extLst>
          </p:cNvPr>
          <p:cNvSpPr txBox="1">
            <a:spLocks/>
          </p:cNvSpPr>
          <p:nvPr/>
        </p:nvSpPr>
        <p:spPr>
          <a:xfrm>
            <a:off x="706084" y="304469"/>
            <a:ext cx="10337800" cy="622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33CC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INTERESTED IN EXPLORING REUSABLE CUPS?</a:t>
            </a:r>
            <a:endParaRPr kumimoji="0" lang="en-GB" sz="2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1127" name="Group 1126">
            <a:extLst>
              <a:ext uri="{FF2B5EF4-FFF2-40B4-BE49-F238E27FC236}">
                <a16:creationId xmlns:a16="http://schemas.microsoft.com/office/drawing/2014/main" id="{DCB24F88-BA99-EE74-BF38-06D11E7C4588}"/>
              </a:ext>
            </a:extLst>
          </p:cNvPr>
          <p:cNvGrpSpPr/>
          <p:nvPr/>
        </p:nvGrpSpPr>
        <p:grpSpPr>
          <a:xfrm>
            <a:off x="0" y="-1"/>
            <a:ext cx="643928" cy="622301"/>
            <a:chOff x="0" y="-1"/>
            <a:chExt cx="1204686" cy="1164225"/>
          </a:xfrm>
        </p:grpSpPr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3D730464-6F28-E156-5828-CA31028B7F6E}"/>
                </a:ext>
              </a:extLst>
            </p:cNvPr>
            <p:cNvSpPr/>
            <p:nvPr/>
          </p:nvSpPr>
          <p:spPr>
            <a:xfrm>
              <a:off x="775282" y="549635"/>
              <a:ext cx="302631" cy="302596"/>
            </a:xfrm>
            <a:custGeom>
              <a:avLst/>
              <a:gdLst>
                <a:gd name="connsiteX0" fmla="*/ 0 w 292642"/>
                <a:gd name="connsiteY0" fmla="*/ 165316 h 292608"/>
                <a:gd name="connsiteX1" fmla="*/ 0 w 292642"/>
                <a:gd name="connsiteY1" fmla="*/ 127257 h 292608"/>
                <a:gd name="connsiteX2" fmla="*/ 18279 w 292642"/>
                <a:gd name="connsiteY2" fmla="*/ 108978 h 292608"/>
                <a:gd name="connsiteX3" fmla="*/ 109013 w 292642"/>
                <a:gd name="connsiteY3" fmla="*/ 108978 h 292608"/>
                <a:gd name="connsiteX4" fmla="*/ 109013 w 292642"/>
                <a:gd name="connsiteY4" fmla="*/ 18279 h 292608"/>
                <a:gd name="connsiteX5" fmla="*/ 127292 w 292642"/>
                <a:gd name="connsiteY5" fmla="*/ 0 h 292608"/>
                <a:gd name="connsiteX6" fmla="*/ 165351 w 292642"/>
                <a:gd name="connsiteY6" fmla="*/ 0 h 292608"/>
                <a:gd name="connsiteX7" fmla="*/ 183630 w 292642"/>
                <a:gd name="connsiteY7" fmla="*/ 18279 h 292608"/>
                <a:gd name="connsiteX8" fmla="*/ 183630 w 292642"/>
                <a:gd name="connsiteY8" fmla="*/ 108978 h 292608"/>
                <a:gd name="connsiteX9" fmla="*/ 274364 w 292642"/>
                <a:gd name="connsiteY9" fmla="*/ 108978 h 292608"/>
                <a:gd name="connsiteX10" fmla="*/ 292643 w 292642"/>
                <a:gd name="connsiteY10" fmla="*/ 127257 h 292608"/>
                <a:gd name="connsiteX11" fmla="*/ 292643 w 292642"/>
                <a:gd name="connsiteY11" fmla="*/ 165316 h 292608"/>
                <a:gd name="connsiteX12" fmla="*/ 274364 w 292642"/>
                <a:gd name="connsiteY12" fmla="*/ 183595 h 292608"/>
                <a:gd name="connsiteX13" fmla="*/ 183630 w 292642"/>
                <a:gd name="connsiteY13" fmla="*/ 183595 h 292608"/>
                <a:gd name="connsiteX14" fmla="*/ 183630 w 292642"/>
                <a:gd name="connsiteY14" fmla="*/ 274329 h 292608"/>
                <a:gd name="connsiteX15" fmla="*/ 165351 w 292642"/>
                <a:gd name="connsiteY15" fmla="*/ 292608 h 292608"/>
                <a:gd name="connsiteX16" fmla="*/ 127292 w 292642"/>
                <a:gd name="connsiteY16" fmla="*/ 292608 h 292608"/>
                <a:gd name="connsiteX17" fmla="*/ 109013 w 292642"/>
                <a:gd name="connsiteY17" fmla="*/ 274329 h 292608"/>
                <a:gd name="connsiteX18" fmla="*/ 109013 w 292642"/>
                <a:gd name="connsiteY18" fmla="*/ 183595 h 292608"/>
                <a:gd name="connsiteX19" fmla="*/ 18279 w 292642"/>
                <a:gd name="connsiteY19" fmla="*/ 183595 h 292608"/>
                <a:gd name="connsiteX20" fmla="*/ 0 w 292642"/>
                <a:gd name="connsiteY20" fmla="*/ 165316 h 29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2642" h="292608">
                  <a:moveTo>
                    <a:pt x="0" y="165316"/>
                  </a:moveTo>
                  <a:lnTo>
                    <a:pt x="0" y="127257"/>
                  </a:lnTo>
                  <a:cubicBezTo>
                    <a:pt x="0" y="117211"/>
                    <a:pt x="8233" y="108978"/>
                    <a:pt x="18279" y="108978"/>
                  </a:cubicBezTo>
                  <a:lnTo>
                    <a:pt x="109013" y="108978"/>
                  </a:lnTo>
                  <a:lnTo>
                    <a:pt x="109013" y="18279"/>
                  </a:lnTo>
                  <a:cubicBezTo>
                    <a:pt x="109013" y="8233"/>
                    <a:pt x="117245" y="0"/>
                    <a:pt x="127292" y="0"/>
                  </a:cubicBezTo>
                  <a:lnTo>
                    <a:pt x="165351" y="0"/>
                  </a:lnTo>
                  <a:cubicBezTo>
                    <a:pt x="175397" y="0"/>
                    <a:pt x="183630" y="8233"/>
                    <a:pt x="183630" y="18279"/>
                  </a:cubicBezTo>
                  <a:lnTo>
                    <a:pt x="183630" y="108978"/>
                  </a:lnTo>
                  <a:lnTo>
                    <a:pt x="274364" y="108978"/>
                  </a:lnTo>
                  <a:cubicBezTo>
                    <a:pt x="284410" y="108978"/>
                    <a:pt x="292643" y="117211"/>
                    <a:pt x="292643" y="127257"/>
                  </a:cubicBezTo>
                  <a:lnTo>
                    <a:pt x="292643" y="165316"/>
                  </a:lnTo>
                  <a:cubicBezTo>
                    <a:pt x="292643" y="175363"/>
                    <a:pt x="284410" y="183595"/>
                    <a:pt x="274364" y="183595"/>
                  </a:cubicBezTo>
                  <a:lnTo>
                    <a:pt x="183630" y="183595"/>
                  </a:lnTo>
                  <a:lnTo>
                    <a:pt x="183630" y="274329"/>
                  </a:lnTo>
                  <a:cubicBezTo>
                    <a:pt x="183630" y="284375"/>
                    <a:pt x="175397" y="292608"/>
                    <a:pt x="165351" y="292608"/>
                  </a:cubicBezTo>
                  <a:lnTo>
                    <a:pt x="127292" y="292608"/>
                  </a:lnTo>
                  <a:cubicBezTo>
                    <a:pt x="117245" y="292608"/>
                    <a:pt x="109013" y="284375"/>
                    <a:pt x="109013" y="274329"/>
                  </a:cubicBezTo>
                  <a:lnTo>
                    <a:pt x="109013" y="183595"/>
                  </a:lnTo>
                  <a:lnTo>
                    <a:pt x="18279" y="183595"/>
                  </a:lnTo>
                  <a:cubicBezTo>
                    <a:pt x="8233" y="183595"/>
                    <a:pt x="0" y="175363"/>
                    <a:pt x="0" y="165316"/>
                  </a:cubicBezTo>
                </a:path>
              </a:pathLst>
            </a:custGeom>
            <a:solidFill>
              <a:srgbClr val="8EDC43"/>
            </a:solidFill>
            <a:ln w="34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23" name="Group 1122">
              <a:extLst>
                <a:ext uri="{FF2B5EF4-FFF2-40B4-BE49-F238E27FC236}">
                  <a16:creationId xmlns:a16="http://schemas.microsoft.com/office/drawing/2014/main" id="{B7E48688-2573-4C67-4E81-F3E3B906B61A}"/>
                </a:ext>
              </a:extLst>
            </p:cNvPr>
            <p:cNvGrpSpPr/>
            <p:nvPr/>
          </p:nvGrpSpPr>
          <p:grpSpPr>
            <a:xfrm flipV="1">
              <a:off x="0" y="-1"/>
              <a:ext cx="1204686" cy="1164225"/>
              <a:chOff x="749" y="9888376"/>
              <a:chExt cx="3226768" cy="3118392"/>
            </a:xfrm>
          </p:grpSpPr>
          <p:sp>
            <p:nvSpPr>
              <p:cNvPr id="1124" name="Freeform: Shape 1123">
                <a:extLst>
                  <a:ext uri="{FF2B5EF4-FFF2-40B4-BE49-F238E27FC236}">
                    <a16:creationId xmlns:a16="http://schemas.microsoft.com/office/drawing/2014/main" id="{18C09A3F-BE16-EC94-1C0D-FA659546C32A}"/>
                  </a:ext>
                </a:extLst>
              </p:cNvPr>
              <p:cNvSpPr/>
              <p:nvPr/>
            </p:nvSpPr>
            <p:spPr>
              <a:xfrm flipH="1">
                <a:off x="749" y="9888376"/>
                <a:ext cx="1561511" cy="1561511"/>
              </a:xfrm>
              <a:custGeom>
                <a:avLst/>
                <a:gdLst>
                  <a:gd name="connsiteX0" fmla="*/ 1561511 w 1561511"/>
                  <a:gd name="connsiteY0" fmla="*/ 0 h 1561511"/>
                  <a:gd name="connsiteX1" fmla="*/ 0 w 1561511"/>
                  <a:gd name="connsiteY1" fmla="*/ 1561511 h 1561511"/>
                  <a:gd name="connsiteX2" fmla="*/ 1561511 w 1561511"/>
                  <a:gd name="connsiteY2" fmla="*/ 1561511 h 1561511"/>
                  <a:gd name="connsiteX3" fmla="*/ 1561511 w 1561511"/>
                  <a:gd name="connsiteY3" fmla="*/ 0 h 156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1511" h="1561511">
                    <a:moveTo>
                      <a:pt x="1561511" y="0"/>
                    </a:moveTo>
                    <a:cubicBezTo>
                      <a:pt x="699117" y="0"/>
                      <a:pt x="0" y="699117"/>
                      <a:pt x="0" y="1561511"/>
                    </a:cubicBezTo>
                    <a:lnTo>
                      <a:pt x="1561511" y="1561511"/>
                    </a:lnTo>
                    <a:lnTo>
                      <a:pt x="1561511" y="0"/>
                    </a:lnTo>
                    <a:close/>
                  </a:path>
                </a:pathLst>
              </a:custGeom>
              <a:solidFill>
                <a:srgbClr val="8EDC43"/>
              </a:solidFill>
              <a:ln w="46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5" name="Freeform: Shape 1124">
                <a:extLst>
                  <a:ext uri="{FF2B5EF4-FFF2-40B4-BE49-F238E27FC236}">
                    <a16:creationId xmlns:a16="http://schemas.microsoft.com/office/drawing/2014/main" id="{A6303CC9-0FFF-88CD-E7D2-D62EE1BC9BAE}"/>
                  </a:ext>
                </a:extLst>
              </p:cNvPr>
              <p:cNvSpPr/>
              <p:nvPr/>
            </p:nvSpPr>
            <p:spPr>
              <a:xfrm flipH="1">
                <a:off x="1547710" y="11449887"/>
                <a:ext cx="1679807" cy="1556227"/>
              </a:xfrm>
              <a:custGeom>
                <a:avLst/>
                <a:gdLst>
                  <a:gd name="connsiteX0" fmla="*/ 0 w 1679807"/>
                  <a:gd name="connsiteY0" fmla="*/ 1556228 h 1556227"/>
                  <a:gd name="connsiteX1" fmla="*/ 1679808 w 1679807"/>
                  <a:gd name="connsiteY1" fmla="*/ 1556228 h 1556227"/>
                  <a:gd name="connsiteX2" fmla="*/ 1679808 w 1679807"/>
                  <a:gd name="connsiteY2" fmla="*/ 0 h 1556227"/>
                  <a:gd name="connsiteX3" fmla="*/ 0 w 1679807"/>
                  <a:gd name="connsiteY3" fmla="*/ 1556228 h 1556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9807" h="1556227">
                    <a:moveTo>
                      <a:pt x="0" y="1556228"/>
                    </a:moveTo>
                    <a:lnTo>
                      <a:pt x="1679808" y="1556228"/>
                    </a:lnTo>
                    <a:lnTo>
                      <a:pt x="1679808" y="0"/>
                    </a:lnTo>
                    <a:cubicBezTo>
                      <a:pt x="1613225" y="869922"/>
                      <a:pt x="886755" y="1555199"/>
                      <a:pt x="0" y="1556228"/>
                    </a:cubicBezTo>
                  </a:path>
                </a:pathLst>
              </a:custGeom>
              <a:solidFill>
                <a:srgbClr val="4FE2F3"/>
              </a:solidFill>
              <a:ln w="46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6" name="Freeform: Shape 1125">
                <a:extLst>
                  <a:ext uri="{FF2B5EF4-FFF2-40B4-BE49-F238E27FC236}">
                    <a16:creationId xmlns:a16="http://schemas.microsoft.com/office/drawing/2014/main" id="{9650FFA2-AF65-8347-0673-AE5DAC7BAF98}"/>
                  </a:ext>
                </a:extLst>
              </p:cNvPr>
              <p:cNvSpPr/>
              <p:nvPr/>
            </p:nvSpPr>
            <p:spPr>
              <a:xfrm flipH="1">
                <a:off x="749" y="11449886"/>
                <a:ext cx="1561511" cy="1556882"/>
              </a:xfrm>
              <a:custGeom>
                <a:avLst/>
                <a:gdLst>
                  <a:gd name="connsiteX0" fmla="*/ 0 w 1561511"/>
                  <a:gd name="connsiteY0" fmla="*/ 0 h 1556882"/>
                  <a:gd name="connsiteX1" fmla="*/ 1561511 w 1561511"/>
                  <a:gd name="connsiteY1" fmla="*/ 0 h 1556882"/>
                  <a:gd name="connsiteX2" fmla="*/ 1561511 w 1561511"/>
                  <a:gd name="connsiteY2" fmla="*/ 1556882 h 1556882"/>
                  <a:gd name="connsiteX3" fmla="*/ 0 w 1561511"/>
                  <a:gd name="connsiteY3" fmla="*/ 1556882 h 1556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1511" h="1556882">
                    <a:moveTo>
                      <a:pt x="0" y="0"/>
                    </a:moveTo>
                    <a:lnTo>
                      <a:pt x="1561511" y="0"/>
                    </a:lnTo>
                    <a:lnTo>
                      <a:pt x="1561511" y="1556882"/>
                    </a:lnTo>
                    <a:lnTo>
                      <a:pt x="0" y="1556882"/>
                    </a:lnTo>
                    <a:close/>
                  </a:path>
                </a:pathLst>
              </a:custGeom>
              <a:solidFill>
                <a:srgbClr val="08A755"/>
              </a:solidFill>
              <a:ln w="46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33" name="Group 1132">
            <a:extLst>
              <a:ext uri="{FF2B5EF4-FFF2-40B4-BE49-F238E27FC236}">
                <a16:creationId xmlns:a16="http://schemas.microsoft.com/office/drawing/2014/main" id="{8DCBDDC5-F318-296B-5E97-AC8E08AECE04}"/>
              </a:ext>
            </a:extLst>
          </p:cNvPr>
          <p:cNvGrpSpPr/>
          <p:nvPr/>
        </p:nvGrpSpPr>
        <p:grpSpPr>
          <a:xfrm flipH="1">
            <a:off x="11503551" y="314263"/>
            <a:ext cx="490943" cy="497085"/>
            <a:chOff x="10732103" y="6210946"/>
            <a:chExt cx="1006277" cy="1018869"/>
          </a:xfrm>
        </p:grpSpPr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07F3760C-E5ED-2482-DD02-F78483316030}"/>
                </a:ext>
              </a:extLst>
            </p:cNvPr>
            <p:cNvSpPr/>
            <p:nvPr/>
          </p:nvSpPr>
          <p:spPr>
            <a:xfrm>
              <a:off x="10738446" y="6777435"/>
              <a:ext cx="368617" cy="452380"/>
            </a:xfrm>
            <a:custGeom>
              <a:avLst/>
              <a:gdLst>
                <a:gd name="connsiteX0" fmla="*/ 368618 w 368617"/>
                <a:gd name="connsiteY0" fmla="*/ 257842 h 452380"/>
                <a:gd name="connsiteX1" fmla="*/ 367951 w 368617"/>
                <a:gd name="connsiteY1" fmla="*/ 245459 h 452380"/>
                <a:gd name="connsiteX2" fmla="*/ 366808 w 368617"/>
                <a:gd name="connsiteY2" fmla="*/ 241745 h 452380"/>
                <a:gd name="connsiteX3" fmla="*/ 365284 w 368617"/>
                <a:gd name="connsiteY3" fmla="*/ 238601 h 452380"/>
                <a:gd name="connsiteX4" fmla="*/ 362426 w 368617"/>
                <a:gd name="connsiteY4" fmla="*/ 228124 h 452380"/>
                <a:gd name="connsiteX5" fmla="*/ 353854 w 368617"/>
                <a:gd name="connsiteY5" fmla="*/ 222028 h 452380"/>
                <a:gd name="connsiteX6" fmla="*/ 339281 w 368617"/>
                <a:gd name="connsiteY6" fmla="*/ 213360 h 452380"/>
                <a:gd name="connsiteX7" fmla="*/ 332708 w 368617"/>
                <a:gd name="connsiteY7" fmla="*/ 210979 h 452380"/>
                <a:gd name="connsiteX8" fmla="*/ 324517 w 368617"/>
                <a:gd name="connsiteY8" fmla="*/ 208312 h 452380"/>
                <a:gd name="connsiteX9" fmla="*/ 323183 w 368617"/>
                <a:gd name="connsiteY9" fmla="*/ 206121 h 452380"/>
                <a:gd name="connsiteX10" fmla="*/ 318707 w 368617"/>
                <a:gd name="connsiteY10" fmla="*/ 205073 h 452380"/>
                <a:gd name="connsiteX11" fmla="*/ 309944 w 368617"/>
                <a:gd name="connsiteY11" fmla="*/ 202502 h 452380"/>
                <a:gd name="connsiteX12" fmla="*/ 308800 w 368617"/>
                <a:gd name="connsiteY12" fmla="*/ 202692 h 452380"/>
                <a:gd name="connsiteX13" fmla="*/ 304705 w 368617"/>
                <a:gd name="connsiteY13" fmla="*/ 203930 h 452380"/>
                <a:gd name="connsiteX14" fmla="*/ 303086 w 368617"/>
                <a:gd name="connsiteY14" fmla="*/ 202787 h 452380"/>
                <a:gd name="connsiteX15" fmla="*/ 297370 w 368617"/>
                <a:gd name="connsiteY15" fmla="*/ 199358 h 452380"/>
                <a:gd name="connsiteX16" fmla="*/ 289274 w 368617"/>
                <a:gd name="connsiteY16" fmla="*/ 197644 h 452380"/>
                <a:gd name="connsiteX17" fmla="*/ 282797 w 368617"/>
                <a:gd name="connsiteY17" fmla="*/ 197644 h 452380"/>
                <a:gd name="connsiteX18" fmla="*/ 278701 w 368617"/>
                <a:gd name="connsiteY18" fmla="*/ 195929 h 452380"/>
                <a:gd name="connsiteX19" fmla="*/ 277940 w 368617"/>
                <a:gd name="connsiteY19" fmla="*/ 200692 h 452380"/>
                <a:gd name="connsiteX20" fmla="*/ 275558 w 368617"/>
                <a:gd name="connsiteY20" fmla="*/ 195453 h 452380"/>
                <a:gd name="connsiteX21" fmla="*/ 272606 w 368617"/>
                <a:gd name="connsiteY21" fmla="*/ 198025 h 452380"/>
                <a:gd name="connsiteX22" fmla="*/ 260223 w 368617"/>
                <a:gd name="connsiteY22" fmla="*/ 197453 h 452380"/>
                <a:gd name="connsiteX23" fmla="*/ 249555 w 368617"/>
                <a:gd name="connsiteY23" fmla="*/ 197072 h 452380"/>
                <a:gd name="connsiteX24" fmla="*/ 238411 w 368617"/>
                <a:gd name="connsiteY24" fmla="*/ 199263 h 452380"/>
                <a:gd name="connsiteX25" fmla="*/ 238316 w 368617"/>
                <a:gd name="connsiteY25" fmla="*/ 198787 h 452380"/>
                <a:gd name="connsiteX26" fmla="*/ 236982 w 368617"/>
                <a:gd name="connsiteY26" fmla="*/ 195548 h 452380"/>
                <a:gd name="connsiteX27" fmla="*/ 237744 w 368617"/>
                <a:gd name="connsiteY27" fmla="*/ 192596 h 452380"/>
                <a:gd name="connsiteX28" fmla="*/ 248031 w 368617"/>
                <a:gd name="connsiteY28" fmla="*/ 178498 h 452380"/>
                <a:gd name="connsiteX29" fmla="*/ 259175 w 368617"/>
                <a:gd name="connsiteY29" fmla="*/ 160782 h 452380"/>
                <a:gd name="connsiteX30" fmla="*/ 260699 w 368617"/>
                <a:gd name="connsiteY30" fmla="*/ 159829 h 452380"/>
                <a:gd name="connsiteX31" fmla="*/ 262604 w 368617"/>
                <a:gd name="connsiteY31" fmla="*/ 157829 h 452380"/>
                <a:gd name="connsiteX32" fmla="*/ 265747 w 368617"/>
                <a:gd name="connsiteY32" fmla="*/ 153734 h 452380"/>
                <a:gd name="connsiteX33" fmla="*/ 270986 w 368617"/>
                <a:gd name="connsiteY33" fmla="*/ 147542 h 452380"/>
                <a:gd name="connsiteX34" fmla="*/ 274320 w 368617"/>
                <a:gd name="connsiteY34" fmla="*/ 143066 h 452380"/>
                <a:gd name="connsiteX35" fmla="*/ 276416 w 368617"/>
                <a:gd name="connsiteY35" fmla="*/ 136398 h 452380"/>
                <a:gd name="connsiteX36" fmla="*/ 277654 w 368617"/>
                <a:gd name="connsiteY36" fmla="*/ 134207 h 452380"/>
                <a:gd name="connsiteX37" fmla="*/ 287084 w 368617"/>
                <a:gd name="connsiteY37" fmla="*/ 125349 h 452380"/>
                <a:gd name="connsiteX38" fmla="*/ 292322 w 368617"/>
                <a:gd name="connsiteY38" fmla="*/ 114491 h 452380"/>
                <a:gd name="connsiteX39" fmla="*/ 294418 w 368617"/>
                <a:gd name="connsiteY39" fmla="*/ 112681 h 452380"/>
                <a:gd name="connsiteX40" fmla="*/ 300133 w 368617"/>
                <a:gd name="connsiteY40" fmla="*/ 102108 h 452380"/>
                <a:gd name="connsiteX41" fmla="*/ 300895 w 368617"/>
                <a:gd name="connsiteY41" fmla="*/ 100870 h 452380"/>
                <a:gd name="connsiteX42" fmla="*/ 307372 w 368617"/>
                <a:gd name="connsiteY42" fmla="*/ 90488 h 452380"/>
                <a:gd name="connsiteX43" fmla="*/ 315373 w 368617"/>
                <a:gd name="connsiteY43" fmla="*/ 72676 h 452380"/>
                <a:gd name="connsiteX44" fmla="*/ 321564 w 368617"/>
                <a:gd name="connsiteY44" fmla="*/ 32480 h 452380"/>
                <a:gd name="connsiteX45" fmla="*/ 315182 w 368617"/>
                <a:gd name="connsiteY45" fmla="*/ 22003 h 452380"/>
                <a:gd name="connsiteX46" fmla="*/ 301371 w 368617"/>
                <a:gd name="connsiteY46" fmla="*/ 18193 h 452380"/>
                <a:gd name="connsiteX47" fmla="*/ 300799 w 368617"/>
                <a:gd name="connsiteY47" fmla="*/ 15907 h 452380"/>
                <a:gd name="connsiteX48" fmla="*/ 293751 w 368617"/>
                <a:gd name="connsiteY48" fmla="*/ 21527 h 452380"/>
                <a:gd name="connsiteX49" fmla="*/ 287465 w 368617"/>
                <a:gd name="connsiteY49" fmla="*/ 26860 h 452380"/>
                <a:gd name="connsiteX50" fmla="*/ 276606 w 368617"/>
                <a:gd name="connsiteY50" fmla="*/ 36671 h 452380"/>
                <a:gd name="connsiteX51" fmla="*/ 270796 w 368617"/>
                <a:gd name="connsiteY51" fmla="*/ 38005 h 452380"/>
                <a:gd name="connsiteX52" fmla="*/ 269367 w 368617"/>
                <a:gd name="connsiteY52" fmla="*/ 39148 h 452380"/>
                <a:gd name="connsiteX53" fmla="*/ 268129 w 368617"/>
                <a:gd name="connsiteY53" fmla="*/ 41815 h 452380"/>
                <a:gd name="connsiteX54" fmla="*/ 256794 w 368617"/>
                <a:gd name="connsiteY54" fmla="*/ 52673 h 452380"/>
                <a:gd name="connsiteX55" fmla="*/ 241173 w 368617"/>
                <a:gd name="connsiteY55" fmla="*/ 69056 h 452380"/>
                <a:gd name="connsiteX56" fmla="*/ 234696 w 368617"/>
                <a:gd name="connsiteY56" fmla="*/ 76010 h 452380"/>
                <a:gd name="connsiteX57" fmla="*/ 233934 w 368617"/>
                <a:gd name="connsiteY57" fmla="*/ 76581 h 452380"/>
                <a:gd name="connsiteX58" fmla="*/ 227838 w 368617"/>
                <a:gd name="connsiteY58" fmla="*/ 82010 h 452380"/>
                <a:gd name="connsiteX59" fmla="*/ 212408 w 368617"/>
                <a:gd name="connsiteY59" fmla="*/ 101346 h 452380"/>
                <a:gd name="connsiteX60" fmla="*/ 204216 w 368617"/>
                <a:gd name="connsiteY60" fmla="*/ 110109 h 452380"/>
                <a:gd name="connsiteX61" fmla="*/ 190976 w 368617"/>
                <a:gd name="connsiteY61" fmla="*/ 125254 h 452380"/>
                <a:gd name="connsiteX62" fmla="*/ 184975 w 368617"/>
                <a:gd name="connsiteY62" fmla="*/ 129254 h 452380"/>
                <a:gd name="connsiteX63" fmla="*/ 181451 w 368617"/>
                <a:gd name="connsiteY63" fmla="*/ 125158 h 452380"/>
                <a:gd name="connsiteX64" fmla="*/ 180499 w 368617"/>
                <a:gd name="connsiteY64" fmla="*/ 123349 h 452380"/>
                <a:gd name="connsiteX65" fmla="*/ 165068 w 368617"/>
                <a:gd name="connsiteY65" fmla="*/ 94393 h 452380"/>
                <a:gd name="connsiteX66" fmla="*/ 161925 w 368617"/>
                <a:gd name="connsiteY66" fmla="*/ 89725 h 452380"/>
                <a:gd name="connsiteX67" fmla="*/ 153162 w 368617"/>
                <a:gd name="connsiteY67" fmla="*/ 75819 h 452380"/>
                <a:gd name="connsiteX68" fmla="*/ 153734 w 368617"/>
                <a:gd name="connsiteY68" fmla="*/ 74962 h 452380"/>
                <a:gd name="connsiteX69" fmla="*/ 152876 w 368617"/>
                <a:gd name="connsiteY69" fmla="*/ 72771 h 452380"/>
                <a:gd name="connsiteX70" fmla="*/ 145637 w 368617"/>
                <a:gd name="connsiteY70" fmla="*/ 62484 h 452380"/>
                <a:gd name="connsiteX71" fmla="*/ 141161 w 368617"/>
                <a:gd name="connsiteY71" fmla="*/ 53531 h 452380"/>
                <a:gd name="connsiteX72" fmla="*/ 132016 w 368617"/>
                <a:gd name="connsiteY72" fmla="*/ 35719 h 452380"/>
                <a:gd name="connsiteX73" fmla="*/ 127921 w 368617"/>
                <a:gd name="connsiteY73" fmla="*/ 26194 h 452380"/>
                <a:gd name="connsiteX74" fmla="*/ 127064 w 368617"/>
                <a:gd name="connsiteY74" fmla="*/ 22384 h 452380"/>
                <a:gd name="connsiteX75" fmla="*/ 119729 w 368617"/>
                <a:gd name="connsiteY75" fmla="*/ 4286 h 452380"/>
                <a:gd name="connsiteX76" fmla="*/ 117824 w 368617"/>
                <a:gd name="connsiteY76" fmla="*/ 0 h 452380"/>
                <a:gd name="connsiteX77" fmla="*/ 113062 w 368617"/>
                <a:gd name="connsiteY77" fmla="*/ 2477 h 452380"/>
                <a:gd name="connsiteX78" fmla="*/ 105061 w 368617"/>
                <a:gd name="connsiteY78" fmla="*/ 15811 h 452380"/>
                <a:gd name="connsiteX79" fmla="*/ 102108 w 368617"/>
                <a:gd name="connsiteY79" fmla="*/ 20383 h 452380"/>
                <a:gd name="connsiteX80" fmla="*/ 97726 w 368617"/>
                <a:gd name="connsiteY80" fmla="*/ 26765 h 452380"/>
                <a:gd name="connsiteX81" fmla="*/ 95345 w 368617"/>
                <a:gd name="connsiteY81" fmla="*/ 37433 h 452380"/>
                <a:gd name="connsiteX82" fmla="*/ 100013 w 368617"/>
                <a:gd name="connsiteY82" fmla="*/ 53340 h 452380"/>
                <a:gd name="connsiteX83" fmla="*/ 102299 w 368617"/>
                <a:gd name="connsiteY83" fmla="*/ 58293 h 452380"/>
                <a:gd name="connsiteX84" fmla="*/ 103918 w 368617"/>
                <a:gd name="connsiteY84" fmla="*/ 60008 h 452380"/>
                <a:gd name="connsiteX85" fmla="*/ 105156 w 368617"/>
                <a:gd name="connsiteY85" fmla="*/ 72866 h 452380"/>
                <a:gd name="connsiteX86" fmla="*/ 107251 w 368617"/>
                <a:gd name="connsiteY86" fmla="*/ 80581 h 452380"/>
                <a:gd name="connsiteX87" fmla="*/ 108299 w 368617"/>
                <a:gd name="connsiteY87" fmla="*/ 83820 h 452380"/>
                <a:gd name="connsiteX88" fmla="*/ 110014 w 368617"/>
                <a:gd name="connsiteY88" fmla="*/ 101156 h 452380"/>
                <a:gd name="connsiteX89" fmla="*/ 112776 w 368617"/>
                <a:gd name="connsiteY89" fmla="*/ 114586 h 452380"/>
                <a:gd name="connsiteX90" fmla="*/ 118872 w 368617"/>
                <a:gd name="connsiteY90" fmla="*/ 142780 h 452380"/>
                <a:gd name="connsiteX91" fmla="*/ 123444 w 368617"/>
                <a:gd name="connsiteY91" fmla="*/ 160401 h 452380"/>
                <a:gd name="connsiteX92" fmla="*/ 128492 w 368617"/>
                <a:gd name="connsiteY92" fmla="*/ 178308 h 452380"/>
                <a:gd name="connsiteX93" fmla="*/ 128492 w 368617"/>
                <a:gd name="connsiteY93" fmla="*/ 182594 h 452380"/>
                <a:gd name="connsiteX94" fmla="*/ 124587 w 368617"/>
                <a:gd name="connsiteY94" fmla="*/ 183166 h 452380"/>
                <a:gd name="connsiteX95" fmla="*/ 115633 w 368617"/>
                <a:gd name="connsiteY95" fmla="*/ 179261 h 452380"/>
                <a:gd name="connsiteX96" fmla="*/ 110204 w 368617"/>
                <a:gd name="connsiteY96" fmla="*/ 175641 h 452380"/>
                <a:gd name="connsiteX97" fmla="*/ 99251 w 368617"/>
                <a:gd name="connsiteY97" fmla="*/ 171641 h 452380"/>
                <a:gd name="connsiteX98" fmla="*/ 89726 w 368617"/>
                <a:gd name="connsiteY98" fmla="*/ 169926 h 452380"/>
                <a:gd name="connsiteX99" fmla="*/ 88582 w 368617"/>
                <a:gd name="connsiteY99" fmla="*/ 170879 h 452380"/>
                <a:gd name="connsiteX100" fmla="*/ 88011 w 368617"/>
                <a:gd name="connsiteY100" fmla="*/ 168497 h 452380"/>
                <a:gd name="connsiteX101" fmla="*/ 87535 w 368617"/>
                <a:gd name="connsiteY101" fmla="*/ 171641 h 452380"/>
                <a:gd name="connsiteX102" fmla="*/ 79915 w 368617"/>
                <a:gd name="connsiteY102" fmla="*/ 169164 h 452380"/>
                <a:gd name="connsiteX103" fmla="*/ 66675 w 368617"/>
                <a:gd name="connsiteY103" fmla="*/ 166306 h 452380"/>
                <a:gd name="connsiteX104" fmla="*/ 64579 w 368617"/>
                <a:gd name="connsiteY104" fmla="*/ 165354 h 452380"/>
                <a:gd name="connsiteX105" fmla="*/ 49339 w 368617"/>
                <a:gd name="connsiteY105" fmla="*/ 167164 h 452380"/>
                <a:gd name="connsiteX106" fmla="*/ 48863 w 368617"/>
                <a:gd name="connsiteY106" fmla="*/ 167069 h 452380"/>
                <a:gd name="connsiteX107" fmla="*/ 34576 w 368617"/>
                <a:gd name="connsiteY107" fmla="*/ 166402 h 452380"/>
                <a:gd name="connsiteX108" fmla="*/ 28289 w 368617"/>
                <a:gd name="connsiteY108" fmla="*/ 168402 h 452380"/>
                <a:gd name="connsiteX109" fmla="*/ 21431 w 368617"/>
                <a:gd name="connsiteY109" fmla="*/ 173450 h 452380"/>
                <a:gd name="connsiteX110" fmla="*/ 18097 w 368617"/>
                <a:gd name="connsiteY110" fmla="*/ 171260 h 452380"/>
                <a:gd name="connsiteX111" fmla="*/ 11716 w 368617"/>
                <a:gd name="connsiteY111" fmla="*/ 173927 h 452380"/>
                <a:gd name="connsiteX112" fmla="*/ 9430 w 368617"/>
                <a:gd name="connsiteY112" fmla="*/ 178022 h 452380"/>
                <a:gd name="connsiteX113" fmla="*/ 6953 w 368617"/>
                <a:gd name="connsiteY113" fmla="*/ 186404 h 452380"/>
                <a:gd name="connsiteX114" fmla="*/ 7239 w 368617"/>
                <a:gd name="connsiteY114" fmla="*/ 190310 h 452380"/>
                <a:gd name="connsiteX115" fmla="*/ 1143 w 368617"/>
                <a:gd name="connsiteY115" fmla="*/ 203264 h 452380"/>
                <a:gd name="connsiteX116" fmla="*/ 0 w 368617"/>
                <a:gd name="connsiteY116" fmla="*/ 216789 h 452380"/>
                <a:gd name="connsiteX117" fmla="*/ 571 w 368617"/>
                <a:gd name="connsiteY117" fmla="*/ 217646 h 452380"/>
                <a:gd name="connsiteX118" fmla="*/ 10001 w 368617"/>
                <a:gd name="connsiteY118" fmla="*/ 221742 h 452380"/>
                <a:gd name="connsiteX119" fmla="*/ 27718 w 368617"/>
                <a:gd name="connsiteY119" fmla="*/ 227743 h 452380"/>
                <a:gd name="connsiteX120" fmla="*/ 51054 w 368617"/>
                <a:gd name="connsiteY120" fmla="*/ 236982 h 452380"/>
                <a:gd name="connsiteX121" fmla="*/ 52959 w 368617"/>
                <a:gd name="connsiteY121" fmla="*/ 236792 h 452380"/>
                <a:gd name="connsiteX122" fmla="*/ 60293 w 368617"/>
                <a:gd name="connsiteY122" fmla="*/ 236220 h 452380"/>
                <a:gd name="connsiteX123" fmla="*/ 65818 w 368617"/>
                <a:gd name="connsiteY123" fmla="*/ 237649 h 452380"/>
                <a:gd name="connsiteX124" fmla="*/ 79915 w 368617"/>
                <a:gd name="connsiteY124" fmla="*/ 239363 h 452380"/>
                <a:gd name="connsiteX125" fmla="*/ 97060 w 368617"/>
                <a:gd name="connsiteY125" fmla="*/ 240030 h 452380"/>
                <a:gd name="connsiteX126" fmla="*/ 104489 w 368617"/>
                <a:gd name="connsiteY126" fmla="*/ 240030 h 452380"/>
                <a:gd name="connsiteX127" fmla="*/ 110871 w 368617"/>
                <a:gd name="connsiteY127" fmla="*/ 239744 h 452380"/>
                <a:gd name="connsiteX128" fmla="*/ 116205 w 368617"/>
                <a:gd name="connsiteY128" fmla="*/ 242125 h 452380"/>
                <a:gd name="connsiteX129" fmla="*/ 120491 w 368617"/>
                <a:gd name="connsiteY129" fmla="*/ 243078 h 452380"/>
                <a:gd name="connsiteX130" fmla="*/ 123634 w 368617"/>
                <a:gd name="connsiteY130" fmla="*/ 244412 h 452380"/>
                <a:gd name="connsiteX131" fmla="*/ 133255 w 368617"/>
                <a:gd name="connsiteY131" fmla="*/ 244412 h 452380"/>
                <a:gd name="connsiteX132" fmla="*/ 128492 w 368617"/>
                <a:gd name="connsiteY132" fmla="*/ 247745 h 452380"/>
                <a:gd name="connsiteX133" fmla="*/ 121444 w 368617"/>
                <a:gd name="connsiteY133" fmla="*/ 257270 h 452380"/>
                <a:gd name="connsiteX134" fmla="*/ 112966 w 368617"/>
                <a:gd name="connsiteY134" fmla="*/ 271082 h 452380"/>
                <a:gd name="connsiteX135" fmla="*/ 105156 w 368617"/>
                <a:gd name="connsiteY135" fmla="*/ 280702 h 452380"/>
                <a:gd name="connsiteX136" fmla="*/ 96202 w 368617"/>
                <a:gd name="connsiteY136" fmla="*/ 289465 h 452380"/>
                <a:gd name="connsiteX137" fmla="*/ 86582 w 368617"/>
                <a:gd name="connsiteY137" fmla="*/ 303371 h 452380"/>
                <a:gd name="connsiteX138" fmla="*/ 81629 w 368617"/>
                <a:gd name="connsiteY138" fmla="*/ 309658 h 452380"/>
                <a:gd name="connsiteX139" fmla="*/ 74104 w 368617"/>
                <a:gd name="connsiteY139" fmla="*/ 317468 h 452380"/>
                <a:gd name="connsiteX140" fmla="*/ 72295 w 368617"/>
                <a:gd name="connsiteY140" fmla="*/ 319088 h 452380"/>
                <a:gd name="connsiteX141" fmla="*/ 64865 w 368617"/>
                <a:gd name="connsiteY141" fmla="*/ 327184 h 452380"/>
                <a:gd name="connsiteX142" fmla="*/ 62293 w 368617"/>
                <a:gd name="connsiteY142" fmla="*/ 330898 h 452380"/>
                <a:gd name="connsiteX143" fmla="*/ 55435 w 368617"/>
                <a:gd name="connsiteY143" fmla="*/ 339185 h 452380"/>
                <a:gd name="connsiteX144" fmla="*/ 52864 w 368617"/>
                <a:gd name="connsiteY144" fmla="*/ 349758 h 452380"/>
                <a:gd name="connsiteX145" fmla="*/ 51149 w 368617"/>
                <a:gd name="connsiteY145" fmla="*/ 364903 h 452380"/>
                <a:gd name="connsiteX146" fmla="*/ 50959 w 368617"/>
                <a:gd name="connsiteY146" fmla="*/ 370046 h 452380"/>
                <a:gd name="connsiteX147" fmla="*/ 51149 w 368617"/>
                <a:gd name="connsiteY147" fmla="*/ 385953 h 452380"/>
                <a:gd name="connsiteX148" fmla="*/ 50578 w 368617"/>
                <a:gd name="connsiteY148" fmla="*/ 388620 h 452380"/>
                <a:gd name="connsiteX149" fmla="*/ 50578 w 368617"/>
                <a:gd name="connsiteY149" fmla="*/ 392621 h 452380"/>
                <a:gd name="connsiteX150" fmla="*/ 64484 w 368617"/>
                <a:gd name="connsiteY150" fmla="*/ 400241 h 452380"/>
                <a:gd name="connsiteX151" fmla="*/ 66199 w 368617"/>
                <a:gd name="connsiteY151" fmla="*/ 399479 h 452380"/>
                <a:gd name="connsiteX152" fmla="*/ 74009 w 368617"/>
                <a:gd name="connsiteY152" fmla="*/ 396621 h 452380"/>
                <a:gd name="connsiteX153" fmla="*/ 81629 w 368617"/>
                <a:gd name="connsiteY153" fmla="*/ 389573 h 452380"/>
                <a:gd name="connsiteX154" fmla="*/ 83629 w 368617"/>
                <a:gd name="connsiteY154" fmla="*/ 385763 h 452380"/>
                <a:gd name="connsiteX155" fmla="*/ 88868 w 368617"/>
                <a:gd name="connsiteY155" fmla="*/ 379095 h 452380"/>
                <a:gd name="connsiteX156" fmla="*/ 90773 w 368617"/>
                <a:gd name="connsiteY156" fmla="*/ 381476 h 452380"/>
                <a:gd name="connsiteX157" fmla="*/ 103537 w 368617"/>
                <a:gd name="connsiteY157" fmla="*/ 366903 h 452380"/>
                <a:gd name="connsiteX158" fmla="*/ 107537 w 368617"/>
                <a:gd name="connsiteY158" fmla="*/ 362426 h 452380"/>
                <a:gd name="connsiteX159" fmla="*/ 117157 w 368617"/>
                <a:gd name="connsiteY159" fmla="*/ 353568 h 452380"/>
                <a:gd name="connsiteX160" fmla="*/ 127826 w 368617"/>
                <a:gd name="connsiteY160" fmla="*/ 345377 h 452380"/>
                <a:gd name="connsiteX161" fmla="*/ 129826 w 368617"/>
                <a:gd name="connsiteY161" fmla="*/ 340043 h 452380"/>
                <a:gd name="connsiteX162" fmla="*/ 133636 w 368617"/>
                <a:gd name="connsiteY162" fmla="*/ 337375 h 452380"/>
                <a:gd name="connsiteX163" fmla="*/ 138017 w 368617"/>
                <a:gd name="connsiteY163" fmla="*/ 333756 h 452380"/>
                <a:gd name="connsiteX164" fmla="*/ 146018 w 368617"/>
                <a:gd name="connsiteY164" fmla="*/ 324612 h 452380"/>
                <a:gd name="connsiteX165" fmla="*/ 147733 w 368617"/>
                <a:gd name="connsiteY165" fmla="*/ 322421 h 452380"/>
                <a:gd name="connsiteX166" fmla="*/ 160592 w 368617"/>
                <a:gd name="connsiteY166" fmla="*/ 308134 h 452380"/>
                <a:gd name="connsiteX167" fmla="*/ 167069 w 368617"/>
                <a:gd name="connsiteY167" fmla="*/ 303657 h 452380"/>
                <a:gd name="connsiteX168" fmla="*/ 171831 w 368617"/>
                <a:gd name="connsiteY168" fmla="*/ 301181 h 452380"/>
                <a:gd name="connsiteX169" fmla="*/ 173355 w 368617"/>
                <a:gd name="connsiteY169" fmla="*/ 299085 h 452380"/>
                <a:gd name="connsiteX170" fmla="*/ 176117 w 368617"/>
                <a:gd name="connsiteY170" fmla="*/ 296037 h 452380"/>
                <a:gd name="connsiteX171" fmla="*/ 179737 w 368617"/>
                <a:gd name="connsiteY171" fmla="*/ 300800 h 452380"/>
                <a:gd name="connsiteX172" fmla="*/ 184309 w 368617"/>
                <a:gd name="connsiteY172" fmla="*/ 318897 h 452380"/>
                <a:gd name="connsiteX173" fmla="*/ 189547 w 368617"/>
                <a:gd name="connsiteY173" fmla="*/ 337375 h 452380"/>
                <a:gd name="connsiteX174" fmla="*/ 192595 w 368617"/>
                <a:gd name="connsiteY174" fmla="*/ 352139 h 452380"/>
                <a:gd name="connsiteX175" fmla="*/ 196024 w 368617"/>
                <a:gd name="connsiteY175" fmla="*/ 367094 h 452380"/>
                <a:gd name="connsiteX176" fmla="*/ 198596 w 368617"/>
                <a:gd name="connsiteY176" fmla="*/ 374523 h 452380"/>
                <a:gd name="connsiteX177" fmla="*/ 201263 w 368617"/>
                <a:gd name="connsiteY177" fmla="*/ 393859 h 452380"/>
                <a:gd name="connsiteX178" fmla="*/ 204406 w 368617"/>
                <a:gd name="connsiteY178" fmla="*/ 403098 h 452380"/>
                <a:gd name="connsiteX179" fmla="*/ 207931 w 368617"/>
                <a:gd name="connsiteY179" fmla="*/ 416243 h 452380"/>
                <a:gd name="connsiteX180" fmla="*/ 211741 w 368617"/>
                <a:gd name="connsiteY180" fmla="*/ 422053 h 452380"/>
                <a:gd name="connsiteX181" fmla="*/ 212122 w 368617"/>
                <a:gd name="connsiteY181" fmla="*/ 431864 h 452380"/>
                <a:gd name="connsiteX182" fmla="*/ 223266 w 368617"/>
                <a:gd name="connsiteY182" fmla="*/ 449580 h 452380"/>
                <a:gd name="connsiteX183" fmla="*/ 228695 w 368617"/>
                <a:gd name="connsiteY183" fmla="*/ 451580 h 452380"/>
                <a:gd name="connsiteX184" fmla="*/ 228695 w 368617"/>
                <a:gd name="connsiteY184" fmla="*/ 451580 h 452380"/>
                <a:gd name="connsiteX185" fmla="*/ 233648 w 368617"/>
                <a:gd name="connsiteY185" fmla="*/ 451580 h 452380"/>
                <a:gd name="connsiteX186" fmla="*/ 241840 w 368617"/>
                <a:gd name="connsiteY186" fmla="*/ 448913 h 452380"/>
                <a:gd name="connsiteX187" fmla="*/ 244030 w 368617"/>
                <a:gd name="connsiteY187" fmla="*/ 423386 h 452380"/>
                <a:gd name="connsiteX188" fmla="*/ 240601 w 368617"/>
                <a:gd name="connsiteY188" fmla="*/ 404622 h 452380"/>
                <a:gd name="connsiteX189" fmla="*/ 237172 w 368617"/>
                <a:gd name="connsiteY189" fmla="*/ 386620 h 452380"/>
                <a:gd name="connsiteX190" fmla="*/ 236982 w 368617"/>
                <a:gd name="connsiteY190" fmla="*/ 384620 h 452380"/>
                <a:gd name="connsiteX191" fmla="*/ 232981 w 368617"/>
                <a:gd name="connsiteY191" fmla="*/ 361855 h 452380"/>
                <a:gd name="connsiteX192" fmla="*/ 232029 w 368617"/>
                <a:gd name="connsiteY192" fmla="*/ 350044 h 452380"/>
                <a:gd name="connsiteX193" fmla="*/ 223456 w 368617"/>
                <a:gd name="connsiteY193" fmla="*/ 323279 h 452380"/>
                <a:gd name="connsiteX194" fmla="*/ 212503 w 368617"/>
                <a:gd name="connsiteY194" fmla="*/ 294037 h 452380"/>
                <a:gd name="connsiteX195" fmla="*/ 212217 w 368617"/>
                <a:gd name="connsiteY195" fmla="*/ 285655 h 452380"/>
                <a:gd name="connsiteX196" fmla="*/ 222123 w 368617"/>
                <a:gd name="connsiteY196" fmla="*/ 284988 h 452380"/>
                <a:gd name="connsiteX197" fmla="*/ 234410 w 368617"/>
                <a:gd name="connsiteY197" fmla="*/ 289560 h 452380"/>
                <a:gd name="connsiteX198" fmla="*/ 249079 w 368617"/>
                <a:gd name="connsiteY198" fmla="*/ 291179 h 452380"/>
                <a:gd name="connsiteX199" fmla="*/ 267843 w 368617"/>
                <a:gd name="connsiteY199" fmla="*/ 292227 h 452380"/>
                <a:gd name="connsiteX200" fmla="*/ 272701 w 368617"/>
                <a:gd name="connsiteY200" fmla="*/ 291560 h 452380"/>
                <a:gd name="connsiteX201" fmla="*/ 282893 w 368617"/>
                <a:gd name="connsiteY201" fmla="*/ 292798 h 452380"/>
                <a:gd name="connsiteX202" fmla="*/ 283464 w 368617"/>
                <a:gd name="connsiteY202" fmla="*/ 291179 h 452380"/>
                <a:gd name="connsiteX203" fmla="*/ 283464 w 368617"/>
                <a:gd name="connsiteY203" fmla="*/ 289179 h 452380"/>
                <a:gd name="connsiteX204" fmla="*/ 285560 w 368617"/>
                <a:gd name="connsiteY204" fmla="*/ 290132 h 452380"/>
                <a:gd name="connsiteX205" fmla="*/ 288893 w 368617"/>
                <a:gd name="connsiteY205" fmla="*/ 291656 h 452380"/>
                <a:gd name="connsiteX206" fmla="*/ 309944 w 368617"/>
                <a:gd name="connsiteY206" fmla="*/ 288893 h 452380"/>
                <a:gd name="connsiteX207" fmla="*/ 322421 w 368617"/>
                <a:gd name="connsiteY207" fmla="*/ 283083 h 452380"/>
                <a:gd name="connsiteX208" fmla="*/ 324517 w 368617"/>
                <a:gd name="connsiteY208" fmla="*/ 282797 h 452380"/>
                <a:gd name="connsiteX209" fmla="*/ 333756 w 368617"/>
                <a:gd name="connsiteY209" fmla="*/ 283940 h 452380"/>
                <a:gd name="connsiteX210" fmla="*/ 341567 w 368617"/>
                <a:gd name="connsiteY210" fmla="*/ 285941 h 452380"/>
                <a:gd name="connsiteX211" fmla="*/ 345853 w 368617"/>
                <a:gd name="connsiteY211" fmla="*/ 283940 h 452380"/>
                <a:gd name="connsiteX212" fmla="*/ 346996 w 368617"/>
                <a:gd name="connsiteY212" fmla="*/ 284988 h 452380"/>
                <a:gd name="connsiteX213" fmla="*/ 346710 w 368617"/>
                <a:gd name="connsiteY213" fmla="*/ 281750 h 452380"/>
                <a:gd name="connsiteX214" fmla="*/ 361474 w 368617"/>
                <a:gd name="connsiteY214" fmla="*/ 279559 h 452380"/>
                <a:gd name="connsiteX215" fmla="*/ 363569 w 368617"/>
                <a:gd name="connsiteY215" fmla="*/ 277749 h 452380"/>
                <a:gd name="connsiteX216" fmla="*/ 366046 w 368617"/>
                <a:gd name="connsiteY216" fmla="*/ 270129 h 452380"/>
                <a:gd name="connsiteX217" fmla="*/ 366903 w 368617"/>
                <a:gd name="connsiteY217" fmla="*/ 263271 h 452380"/>
                <a:gd name="connsiteX218" fmla="*/ 367951 w 368617"/>
                <a:gd name="connsiteY218" fmla="*/ 257556 h 452380"/>
                <a:gd name="connsiteX219" fmla="*/ 155543 w 368617"/>
                <a:gd name="connsiteY219" fmla="*/ 115348 h 452380"/>
                <a:gd name="connsiteX220" fmla="*/ 157448 w 368617"/>
                <a:gd name="connsiteY220" fmla="*/ 117729 h 452380"/>
                <a:gd name="connsiteX221" fmla="*/ 156305 w 368617"/>
                <a:gd name="connsiteY221" fmla="*/ 119158 h 452380"/>
                <a:gd name="connsiteX222" fmla="*/ 154115 w 368617"/>
                <a:gd name="connsiteY222" fmla="*/ 116586 h 452380"/>
                <a:gd name="connsiteX223" fmla="*/ 155543 w 368617"/>
                <a:gd name="connsiteY223" fmla="*/ 115348 h 452380"/>
                <a:gd name="connsiteX224" fmla="*/ 158591 w 368617"/>
                <a:gd name="connsiteY224" fmla="*/ 155543 h 452380"/>
                <a:gd name="connsiteX225" fmla="*/ 155353 w 368617"/>
                <a:gd name="connsiteY225" fmla="*/ 156877 h 452380"/>
                <a:gd name="connsiteX226" fmla="*/ 149447 w 368617"/>
                <a:gd name="connsiteY226" fmla="*/ 154591 h 452380"/>
                <a:gd name="connsiteX227" fmla="*/ 141161 w 368617"/>
                <a:gd name="connsiteY227" fmla="*/ 121920 h 452380"/>
                <a:gd name="connsiteX228" fmla="*/ 141637 w 368617"/>
                <a:gd name="connsiteY228" fmla="*/ 118491 h 452380"/>
                <a:gd name="connsiteX229" fmla="*/ 143066 w 368617"/>
                <a:gd name="connsiteY229" fmla="*/ 118491 h 452380"/>
                <a:gd name="connsiteX230" fmla="*/ 151257 w 368617"/>
                <a:gd name="connsiteY230" fmla="*/ 127921 h 452380"/>
                <a:gd name="connsiteX231" fmla="*/ 151543 w 368617"/>
                <a:gd name="connsiteY231" fmla="*/ 128683 h 452380"/>
                <a:gd name="connsiteX232" fmla="*/ 156972 w 368617"/>
                <a:gd name="connsiteY232" fmla="*/ 138303 h 452380"/>
                <a:gd name="connsiteX233" fmla="*/ 163830 w 368617"/>
                <a:gd name="connsiteY233" fmla="*/ 148876 h 452380"/>
                <a:gd name="connsiteX234" fmla="*/ 158591 w 368617"/>
                <a:gd name="connsiteY234" fmla="*/ 155543 h 452380"/>
                <a:gd name="connsiteX235" fmla="*/ 228028 w 368617"/>
                <a:gd name="connsiteY235" fmla="*/ 149257 h 452380"/>
                <a:gd name="connsiteX236" fmla="*/ 218503 w 368617"/>
                <a:gd name="connsiteY236" fmla="*/ 161735 h 452380"/>
                <a:gd name="connsiteX237" fmla="*/ 206978 w 368617"/>
                <a:gd name="connsiteY237" fmla="*/ 178689 h 452380"/>
                <a:gd name="connsiteX238" fmla="*/ 206026 w 368617"/>
                <a:gd name="connsiteY238" fmla="*/ 180404 h 452380"/>
                <a:gd name="connsiteX239" fmla="*/ 189643 w 368617"/>
                <a:gd name="connsiteY239" fmla="*/ 189548 h 452380"/>
                <a:gd name="connsiteX240" fmla="*/ 185642 w 368617"/>
                <a:gd name="connsiteY240" fmla="*/ 198025 h 452380"/>
                <a:gd name="connsiteX241" fmla="*/ 182690 w 368617"/>
                <a:gd name="connsiteY241" fmla="*/ 202597 h 452380"/>
                <a:gd name="connsiteX242" fmla="*/ 180689 w 368617"/>
                <a:gd name="connsiteY242" fmla="*/ 199168 h 452380"/>
                <a:gd name="connsiteX243" fmla="*/ 176403 w 368617"/>
                <a:gd name="connsiteY243" fmla="*/ 193453 h 452380"/>
                <a:gd name="connsiteX244" fmla="*/ 182023 w 368617"/>
                <a:gd name="connsiteY244" fmla="*/ 184404 h 452380"/>
                <a:gd name="connsiteX245" fmla="*/ 184880 w 368617"/>
                <a:gd name="connsiteY245" fmla="*/ 179261 h 452380"/>
                <a:gd name="connsiteX246" fmla="*/ 186214 w 368617"/>
                <a:gd name="connsiteY246" fmla="*/ 178879 h 452380"/>
                <a:gd name="connsiteX247" fmla="*/ 188500 w 368617"/>
                <a:gd name="connsiteY247" fmla="*/ 177641 h 452380"/>
                <a:gd name="connsiteX248" fmla="*/ 194500 w 368617"/>
                <a:gd name="connsiteY248" fmla="*/ 171736 h 452380"/>
                <a:gd name="connsiteX249" fmla="*/ 207073 w 368617"/>
                <a:gd name="connsiteY249" fmla="*/ 155829 h 452380"/>
                <a:gd name="connsiteX250" fmla="*/ 218313 w 368617"/>
                <a:gd name="connsiteY250" fmla="*/ 143542 h 452380"/>
                <a:gd name="connsiteX251" fmla="*/ 229267 w 368617"/>
                <a:gd name="connsiteY251" fmla="*/ 130588 h 452380"/>
                <a:gd name="connsiteX252" fmla="*/ 240316 w 368617"/>
                <a:gd name="connsiteY252" fmla="*/ 114871 h 452380"/>
                <a:gd name="connsiteX253" fmla="*/ 249936 w 368617"/>
                <a:gd name="connsiteY253" fmla="*/ 105346 h 452380"/>
                <a:gd name="connsiteX254" fmla="*/ 262795 w 368617"/>
                <a:gd name="connsiteY254" fmla="*/ 94107 h 452380"/>
                <a:gd name="connsiteX255" fmla="*/ 272129 w 368617"/>
                <a:gd name="connsiteY255" fmla="*/ 84201 h 452380"/>
                <a:gd name="connsiteX256" fmla="*/ 275368 w 368617"/>
                <a:gd name="connsiteY256" fmla="*/ 81153 h 452380"/>
                <a:gd name="connsiteX257" fmla="*/ 278320 w 368617"/>
                <a:gd name="connsiteY257" fmla="*/ 81820 h 452380"/>
                <a:gd name="connsiteX258" fmla="*/ 277273 w 368617"/>
                <a:gd name="connsiteY258" fmla="*/ 85916 h 452380"/>
                <a:gd name="connsiteX259" fmla="*/ 266319 w 368617"/>
                <a:gd name="connsiteY259" fmla="*/ 97917 h 452380"/>
                <a:gd name="connsiteX260" fmla="*/ 256889 w 368617"/>
                <a:gd name="connsiteY260" fmla="*/ 109728 h 452380"/>
                <a:gd name="connsiteX261" fmla="*/ 247174 w 368617"/>
                <a:gd name="connsiteY261" fmla="*/ 123349 h 452380"/>
                <a:gd name="connsiteX262" fmla="*/ 245173 w 368617"/>
                <a:gd name="connsiteY262" fmla="*/ 125730 h 452380"/>
                <a:gd name="connsiteX263" fmla="*/ 242125 w 368617"/>
                <a:gd name="connsiteY263" fmla="*/ 129635 h 452380"/>
                <a:gd name="connsiteX264" fmla="*/ 241268 w 368617"/>
                <a:gd name="connsiteY264" fmla="*/ 128397 h 452380"/>
                <a:gd name="connsiteX265" fmla="*/ 240887 w 368617"/>
                <a:gd name="connsiteY265" fmla="*/ 131921 h 452380"/>
                <a:gd name="connsiteX266" fmla="*/ 228314 w 368617"/>
                <a:gd name="connsiteY266" fmla="*/ 149257 h 4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368617" h="452380">
                  <a:moveTo>
                    <a:pt x="368618" y="257842"/>
                  </a:moveTo>
                  <a:cubicBezTo>
                    <a:pt x="366141" y="253746"/>
                    <a:pt x="367760" y="249555"/>
                    <a:pt x="367951" y="245459"/>
                  </a:cubicBezTo>
                  <a:cubicBezTo>
                    <a:pt x="367951" y="243935"/>
                    <a:pt x="369094" y="242030"/>
                    <a:pt x="366808" y="241745"/>
                  </a:cubicBezTo>
                  <a:cubicBezTo>
                    <a:pt x="364045" y="241459"/>
                    <a:pt x="364808" y="239649"/>
                    <a:pt x="365284" y="238601"/>
                  </a:cubicBezTo>
                  <a:cubicBezTo>
                    <a:pt x="367284" y="234220"/>
                    <a:pt x="364522" y="231267"/>
                    <a:pt x="362426" y="228124"/>
                  </a:cubicBezTo>
                  <a:cubicBezTo>
                    <a:pt x="360426" y="224981"/>
                    <a:pt x="357092" y="223742"/>
                    <a:pt x="353854" y="222028"/>
                  </a:cubicBezTo>
                  <a:cubicBezTo>
                    <a:pt x="348996" y="219361"/>
                    <a:pt x="343853" y="216884"/>
                    <a:pt x="339281" y="213360"/>
                  </a:cubicBezTo>
                  <a:cubicBezTo>
                    <a:pt x="337566" y="212027"/>
                    <a:pt x="335661" y="209550"/>
                    <a:pt x="332708" y="210979"/>
                  </a:cubicBezTo>
                  <a:cubicBezTo>
                    <a:pt x="330898" y="207169"/>
                    <a:pt x="327660" y="207931"/>
                    <a:pt x="324517" y="208312"/>
                  </a:cubicBezTo>
                  <a:cubicBezTo>
                    <a:pt x="324517" y="207359"/>
                    <a:pt x="324326" y="206502"/>
                    <a:pt x="323183" y="206121"/>
                  </a:cubicBezTo>
                  <a:cubicBezTo>
                    <a:pt x="321755" y="205740"/>
                    <a:pt x="320231" y="205264"/>
                    <a:pt x="318707" y="205073"/>
                  </a:cubicBezTo>
                  <a:cubicBezTo>
                    <a:pt x="315659" y="204788"/>
                    <a:pt x="311563" y="208121"/>
                    <a:pt x="309944" y="202502"/>
                  </a:cubicBezTo>
                  <a:cubicBezTo>
                    <a:pt x="309848" y="202025"/>
                    <a:pt x="308991" y="202692"/>
                    <a:pt x="308800" y="202692"/>
                  </a:cubicBezTo>
                  <a:cubicBezTo>
                    <a:pt x="307181" y="202406"/>
                    <a:pt x="305371" y="201168"/>
                    <a:pt x="304705" y="203930"/>
                  </a:cubicBezTo>
                  <a:cubicBezTo>
                    <a:pt x="304229" y="203549"/>
                    <a:pt x="303657" y="203073"/>
                    <a:pt x="303086" y="202787"/>
                  </a:cubicBezTo>
                  <a:cubicBezTo>
                    <a:pt x="301181" y="201644"/>
                    <a:pt x="299180" y="200692"/>
                    <a:pt x="297370" y="199358"/>
                  </a:cubicBezTo>
                  <a:cubicBezTo>
                    <a:pt x="294894" y="197644"/>
                    <a:pt x="291751" y="199549"/>
                    <a:pt x="289274" y="197644"/>
                  </a:cubicBezTo>
                  <a:cubicBezTo>
                    <a:pt x="287084" y="202406"/>
                    <a:pt x="284988" y="198501"/>
                    <a:pt x="282797" y="197644"/>
                  </a:cubicBezTo>
                  <a:cubicBezTo>
                    <a:pt x="281464" y="197072"/>
                    <a:pt x="280416" y="195263"/>
                    <a:pt x="278701" y="195929"/>
                  </a:cubicBezTo>
                  <a:cubicBezTo>
                    <a:pt x="276035" y="196977"/>
                    <a:pt x="279273" y="199263"/>
                    <a:pt x="277940" y="200692"/>
                  </a:cubicBezTo>
                  <a:cubicBezTo>
                    <a:pt x="274511" y="200596"/>
                    <a:pt x="275654" y="197739"/>
                    <a:pt x="275558" y="195453"/>
                  </a:cubicBezTo>
                  <a:cubicBezTo>
                    <a:pt x="274130" y="196691"/>
                    <a:pt x="272891" y="198215"/>
                    <a:pt x="272606" y="198025"/>
                  </a:cubicBezTo>
                  <a:cubicBezTo>
                    <a:pt x="268510" y="195548"/>
                    <a:pt x="263938" y="199073"/>
                    <a:pt x="260223" y="197453"/>
                  </a:cubicBezTo>
                  <a:cubicBezTo>
                    <a:pt x="256508" y="195739"/>
                    <a:pt x="253841" y="193643"/>
                    <a:pt x="249555" y="197072"/>
                  </a:cubicBezTo>
                  <a:cubicBezTo>
                    <a:pt x="246793" y="199168"/>
                    <a:pt x="241554" y="194881"/>
                    <a:pt x="238411" y="199263"/>
                  </a:cubicBezTo>
                  <a:cubicBezTo>
                    <a:pt x="238411" y="199073"/>
                    <a:pt x="238411" y="198882"/>
                    <a:pt x="238316" y="198787"/>
                  </a:cubicBezTo>
                  <a:cubicBezTo>
                    <a:pt x="240030" y="196787"/>
                    <a:pt x="237172" y="196787"/>
                    <a:pt x="236982" y="195548"/>
                  </a:cubicBezTo>
                  <a:cubicBezTo>
                    <a:pt x="237268" y="194596"/>
                    <a:pt x="237553" y="193548"/>
                    <a:pt x="237744" y="192596"/>
                  </a:cubicBezTo>
                  <a:cubicBezTo>
                    <a:pt x="238887" y="186309"/>
                    <a:pt x="245650" y="184118"/>
                    <a:pt x="248031" y="178498"/>
                  </a:cubicBezTo>
                  <a:cubicBezTo>
                    <a:pt x="250889" y="172117"/>
                    <a:pt x="259461" y="169259"/>
                    <a:pt x="259175" y="160782"/>
                  </a:cubicBezTo>
                  <a:cubicBezTo>
                    <a:pt x="259175" y="160496"/>
                    <a:pt x="260223" y="159829"/>
                    <a:pt x="260699" y="159829"/>
                  </a:cubicBezTo>
                  <a:cubicBezTo>
                    <a:pt x="262319" y="160020"/>
                    <a:pt x="262795" y="159639"/>
                    <a:pt x="262604" y="157829"/>
                  </a:cubicBezTo>
                  <a:cubicBezTo>
                    <a:pt x="262414" y="155639"/>
                    <a:pt x="264223" y="154019"/>
                    <a:pt x="265747" y="153734"/>
                  </a:cubicBezTo>
                  <a:cubicBezTo>
                    <a:pt x="269558" y="153067"/>
                    <a:pt x="269939" y="150114"/>
                    <a:pt x="270986" y="147542"/>
                  </a:cubicBezTo>
                  <a:cubicBezTo>
                    <a:pt x="271748" y="145733"/>
                    <a:pt x="271367" y="143161"/>
                    <a:pt x="274320" y="143066"/>
                  </a:cubicBezTo>
                  <a:cubicBezTo>
                    <a:pt x="274034" y="140589"/>
                    <a:pt x="279368" y="139827"/>
                    <a:pt x="276416" y="136398"/>
                  </a:cubicBezTo>
                  <a:cubicBezTo>
                    <a:pt x="276796" y="135636"/>
                    <a:pt x="277178" y="134969"/>
                    <a:pt x="277654" y="134207"/>
                  </a:cubicBezTo>
                  <a:cubicBezTo>
                    <a:pt x="280797" y="131254"/>
                    <a:pt x="284512" y="128683"/>
                    <a:pt x="287084" y="125349"/>
                  </a:cubicBezTo>
                  <a:cubicBezTo>
                    <a:pt x="289465" y="122206"/>
                    <a:pt x="292703" y="119158"/>
                    <a:pt x="292322" y="114491"/>
                  </a:cubicBezTo>
                  <a:cubicBezTo>
                    <a:pt x="294132" y="115157"/>
                    <a:pt x="294608" y="114300"/>
                    <a:pt x="294418" y="112681"/>
                  </a:cubicBezTo>
                  <a:cubicBezTo>
                    <a:pt x="299466" y="108871"/>
                    <a:pt x="300228" y="107347"/>
                    <a:pt x="300133" y="102108"/>
                  </a:cubicBezTo>
                  <a:cubicBezTo>
                    <a:pt x="300133" y="101727"/>
                    <a:pt x="300704" y="101251"/>
                    <a:pt x="300895" y="100870"/>
                  </a:cubicBezTo>
                  <a:cubicBezTo>
                    <a:pt x="302800" y="97250"/>
                    <a:pt x="305467" y="94107"/>
                    <a:pt x="307372" y="90488"/>
                  </a:cubicBezTo>
                  <a:cubicBezTo>
                    <a:pt x="310420" y="84677"/>
                    <a:pt x="313563" y="78867"/>
                    <a:pt x="315373" y="72676"/>
                  </a:cubicBezTo>
                  <a:cubicBezTo>
                    <a:pt x="319183" y="59627"/>
                    <a:pt x="322326" y="46292"/>
                    <a:pt x="321564" y="32480"/>
                  </a:cubicBezTo>
                  <a:cubicBezTo>
                    <a:pt x="321278" y="28099"/>
                    <a:pt x="319183" y="22003"/>
                    <a:pt x="315182" y="22003"/>
                  </a:cubicBezTo>
                  <a:cubicBezTo>
                    <a:pt x="309848" y="22003"/>
                    <a:pt x="306800" y="16288"/>
                    <a:pt x="301371" y="18193"/>
                  </a:cubicBezTo>
                  <a:cubicBezTo>
                    <a:pt x="300038" y="18669"/>
                    <a:pt x="301752" y="16478"/>
                    <a:pt x="300799" y="15907"/>
                  </a:cubicBezTo>
                  <a:cubicBezTo>
                    <a:pt x="297751" y="16955"/>
                    <a:pt x="298323" y="22098"/>
                    <a:pt x="293751" y="21527"/>
                  </a:cubicBezTo>
                  <a:cubicBezTo>
                    <a:pt x="290322" y="21050"/>
                    <a:pt x="290132" y="25241"/>
                    <a:pt x="287465" y="26860"/>
                  </a:cubicBezTo>
                  <a:cubicBezTo>
                    <a:pt x="283464" y="29242"/>
                    <a:pt x="277654" y="30671"/>
                    <a:pt x="276606" y="36671"/>
                  </a:cubicBezTo>
                  <a:cubicBezTo>
                    <a:pt x="274511" y="36100"/>
                    <a:pt x="274130" y="42863"/>
                    <a:pt x="270796" y="38005"/>
                  </a:cubicBezTo>
                  <a:cubicBezTo>
                    <a:pt x="270129" y="37052"/>
                    <a:pt x="269462" y="38291"/>
                    <a:pt x="269367" y="39148"/>
                  </a:cubicBezTo>
                  <a:cubicBezTo>
                    <a:pt x="269272" y="40196"/>
                    <a:pt x="269176" y="41243"/>
                    <a:pt x="268129" y="41815"/>
                  </a:cubicBezTo>
                  <a:cubicBezTo>
                    <a:pt x="263462" y="44482"/>
                    <a:pt x="261175" y="49625"/>
                    <a:pt x="256794" y="52673"/>
                  </a:cubicBezTo>
                  <a:cubicBezTo>
                    <a:pt x="250508" y="57055"/>
                    <a:pt x="247555" y="64865"/>
                    <a:pt x="241173" y="69056"/>
                  </a:cubicBezTo>
                  <a:cubicBezTo>
                    <a:pt x="238316" y="70961"/>
                    <a:pt x="235077" y="72009"/>
                    <a:pt x="234696" y="76010"/>
                  </a:cubicBezTo>
                  <a:cubicBezTo>
                    <a:pt x="234696" y="76200"/>
                    <a:pt x="234124" y="76581"/>
                    <a:pt x="233934" y="76581"/>
                  </a:cubicBezTo>
                  <a:cubicBezTo>
                    <a:pt x="229648" y="75724"/>
                    <a:pt x="228791" y="79915"/>
                    <a:pt x="227838" y="82010"/>
                  </a:cubicBezTo>
                  <a:cubicBezTo>
                    <a:pt x="224219" y="89725"/>
                    <a:pt x="217456" y="94869"/>
                    <a:pt x="212408" y="101346"/>
                  </a:cubicBezTo>
                  <a:cubicBezTo>
                    <a:pt x="210217" y="104204"/>
                    <a:pt x="208026" y="107823"/>
                    <a:pt x="204216" y="110109"/>
                  </a:cubicBezTo>
                  <a:cubicBezTo>
                    <a:pt x="198501" y="113538"/>
                    <a:pt x="192786" y="117729"/>
                    <a:pt x="190976" y="125254"/>
                  </a:cubicBezTo>
                  <a:cubicBezTo>
                    <a:pt x="190500" y="127445"/>
                    <a:pt x="187738" y="129064"/>
                    <a:pt x="184975" y="129254"/>
                  </a:cubicBezTo>
                  <a:cubicBezTo>
                    <a:pt x="182118" y="129445"/>
                    <a:pt x="181927" y="127159"/>
                    <a:pt x="181451" y="125158"/>
                  </a:cubicBezTo>
                  <a:cubicBezTo>
                    <a:pt x="181261" y="124492"/>
                    <a:pt x="180785" y="123920"/>
                    <a:pt x="180499" y="123349"/>
                  </a:cubicBezTo>
                  <a:cubicBezTo>
                    <a:pt x="175355" y="113729"/>
                    <a:pt x="170117" y="104108"/>
                    <a:pt x="165068" y="94393"/>
                  </a:cubicBezTo>
                  <a:cubicBezTo>
                    <a:pt x="164211" y="92678"/>
                    <a:pt x="163830" y="90964"/>
                    <a:pt x="161925" y="89725"/>
                  </a:cubicBezTo>
                  <a:cubicBezTo>
                    <a:pt x="156877" y="86487"/>
                    <a:pt x="158972" y="78677"/>
                    <a:pt x="153162" y="75819"/>
                  </a:cubicBezTo>
                  <a:cubicBezTo>
                    <a:pt x="153352" y="75533"/>
                    <a:pt x="153543" y="75248"/>
                    <a:pt x="153734" y="74962"/>
                  </a:cubicBezTo>
                  <a:cubicBezTo>
                    <a:pt x="154781" y="73723"/>
                    <a:pt x="153829" y="73343"/>
                    <a:pt x="152876" y="72771"/>
                  </a:cubicBezTo>
                  <a:cubicBezTo>
                    <a:pt x="148971" y="70390"/>
                    <a:pt x="145733" y="67437"/>
                    <a:pt x="145637" y="62484"/>
                  </a:cubicBezTo>
                  <a:cubicBezTo>
                    <a:pt x="145637" y="58674"/>
                    <a:pt x="142303" y="56674"/>
                    <a:pt x="141161" y="53531"/>
                  </a:cubicBezTo>
                  <a:cubicBezTo>
                    <a:pt x="138874" y="47149"/>
                    <a:pt x="135922" y="41148"/>
                    <a:pt x="132016" y="35719"/>
                  </a:cubicBezTo>
                  <a:cubicBezTo>
                    <a:pt x="129921" y="32766"/>
                    <a:pt x="126587" y="30575"/>
                    <a:pt x="127921" y="26194"/>
                  </a:cubicBezTo>
                  <a:cubicBezTo>
                    <a:pt x="128302" y="24956"/>
                    <a:pt x="128206" y="23527"/>
                    <a:pt x="127064" y="22384"/>
                  </a:cubicBezTo>
                  <a:cubicBezTo>
                    <a:pt x="121825" y="17526"/>
                    <a:pt x="120205" y="11049"/>
                    <a:pt x="119729" y="4286"/>
                  </a:cubicBezTo>
                  <a:cubicBezTo>
                    <a:pt x="119634" y="2477"/>
                    <a:pt x="119348" y="95"/>
                    <a:pt x="117824" y="0"/>
                  </a:cubicBezTo>
                  <a:cubicBezTo>
                    <a:pt x="116395" y="0"/>
                    <a:pt x="114205" y="572"/>
                    <a:pt x="113062" y="2477"/>
                  </a:cubicBezTo>
                  <a:cubicBezTo>
                    <a:pt x="110490" y="6953"/>
                    <a:pt x="107061" y="11144"/>
                    <a:pt x="105061" y="15811"/>
                  </a:cubicBezTo>
                  <a:cubicBezTo>
                    <a:pt x="104203" y="17812"/>
                    <a:pt x="101727" y="19431"/>
                    <a:pt x="102108" y="20383"/>
                  </a:cubicBezTo>
                  <a:cubicBezTo>
                    <a:pt x="104013" y="25146"/>
                    <a:pt x="100013" y="25527"/>
                    <a:pt x="97726" y="26765"/>
                  </a:cubicBezTo>
                  <a:cubicBezTo>
                    <a:pt x="92964" y="29432"/>
                    <a:pt x="92012" y="32957"/>
                    <a:pt x="95345" y="37433"/>
                  </a:cubicBezTo>
                  <a:cubicBezTo>
                    <a:pt x="98869" y="42101"/>
                    <a:pt x="101441" y="47054"/>
                    <a:pt x="100013" y="53340"/>
                  </a:cubicBezTo>
                  <a:cubicBezTo>
                    <a:pt x="99536" y="55340"/>
                    <a:pt x="99441" y="57626"/>
                    <a:pt x="102299" y="58293"/>
                  </a:cubicBezTo>
                  <a:cubicBezTo>
                    <a:pt x="103251" y="58483"/>
                    <a:pt x="103823" y="59055"/>
                    <a:pt x="103918" y="60008"/>
                  </a:cubicBezTo>
                  <a:cubicBezTo>
                    <a:pt x="104203" y="64294"/>
                    <a:pt x="106394" y="68485"/>
                    <a:pt x="105156" y="72866"/>
                  </a:cubicBezTo>
                  <a:cubicBezTo>
                    <a:pt x="104203" y="76105"/>
                    <a:pt x="105061" y="78296"/>
                    <a:pt x="107251" y="80581"/>
                  </a:cubicBezTo>
                  <a:cubicBezTo>
                    <a:pt x="108014" y="81344"/>
                    <a:pt x="108776" y="83248"/>
                    <a:pt x="108299" y="83820"/>
                  </a:cubicBezTo>
                  <a:cubicBezTo>
                    <a:pt x="103918" y="89916"/>
                    <a:pt x="111728" y="94679"/>
                    <a:pt x="110014" y="101156"/>
                  </a:cubicBezTo>
                  <a:cubicBezTo>
                    <a:pt x="109061" y="104680"/>
                    <a:pt x="112871" y="110585"/>
                    <a:pt x="112776" y="114586"/>
                  </a:cubicBezTo>
                  <a:cubicBezTo>
                    <a:pt x="112395" y="124682"/>
                    <a:pt x="119158" y="132779"/>
                    <a:pt x="118872" y="142780"/>
                  </a:cubicBezTo>
                  <a:cubicBezTo>
                    <a:pt x="118681" y="148781"/>
                    <a:pt x="122111" y="154496"/>
                    <a:pt x="123444" y="160401"/>
                  </a:cubicBezTo>
                  <a:cubicBezTo>
                    <a:pt x="124777" y="166497"/>
                    <a:pt x="127064" y="172307"/>
                    <a:pt x="128492" y="178308"/>
                  </a:cubicBezTo>
                  <a:cubicBezTo>
                    <a:pt x="128873" y="179832"/>
                    <a:pt x="129635" y="181546"/>
                    <a:pt x="128492" y="182594"/>
                  </a:cubicBezTo>
                  <a:cubicBezTo>
                    <a:pt x="127730" y="183261"/>
                    <a:pt x="126111" y="183547"/>
                    <a:pt x="124587" y="183166"/>
                  </a:cubicBezTo>
                  <a:cubicBezTo>
                    <a:pt x="121349" y="182309"/>
                    <a:pt x="120872" y="175165"/>
                    <a:pt x="115633" y="179261"/>
                  </a:cubicBezTo>
                  <a:cubicBezTo>
                    <a:pt x="114490" y="176879"/>
                    <a:pt x="112109" y="176784"/>
                    <a:pt x="110204" y="175641"/>
                  </a:cubicBezTo>
                  <a:cubicBezTo>
                    <a:pt x="106489" y="173546"/>
                    <a:pt x="100679" y="170021"/>
                    <a:pt x="99251" y="171641"/>
                  </a:cubicBezTo>
                  <a:cubicBezTo>
                    <a:pt x="94107" y="177546"/>
                    <a:pt x="92869" y="169926"/>
                    <a:pt x="89726" y="169926"/>
                  </a:cubicBezTo>
                  <a:cubicBezTo>
                    <a:pt x="89344" y="169926"/>
                    <a:pt x="88964" y="170593"/>
                    <a:pt x="88582" y="170879"/>
                  </a:cubicBezTo>
                  <a:cubicBezTo>
                    <a:pt x="88392" y="170021"/>
                    <a:pt x="88964" y="168307"/>
                    <a:pt x="88011" y="168497"/>
                  </a:cubicBezTo>
                  <a:cubicBezTo>
                    <a:pt x="86296" y="168878"/>
                    <a:pt x="86963" y="170498"/>
                    <a:pt x="87535" y="171641"/>
                  </a:cubicBezTo>
                  <a:cubicBezTo>
                    <a:pt x="84963" y="170879"/>
                    <a:pt x="82010" y="170688"/>
                    <a:pt x="79915" y="169164"/>
                  </a:cubicBezTo>
                  <a:cubicBezTo>
                    <a:pt x="75724" y="166116"/>
                    <a:pt x="71342" y="166116"/>
                    <a:pt x="66675" y="166306"/>
                  </a:cubicBezTo>
                  <a:cubicBezTo>
                    <a:pt x="66199" y="165640"/>
                    <a:pt x="65532" y="165259"/>
                    <a:pt x="64579" y="165354"/>
                  </a:cubicBezTo>
                  <a:cubicBezTo>
                    <a:pt x="59436" y="165830"/>
                    <a:pt x="54959" y="171736"/>
                    <a:pt x="49339" y="167164"/>
                  </a:cubicBezTo>
                  <a:cubicBezTo>
                    <a:pt x="49244" y="167164"/>
                    <a:pt x="48958" y="166973"/>
                    <a:pt x="48863" y="167069"/>
                  </a:cubicBezTo>
                  <a:cubicBezTo>
                    <a:pt x="44005" y="169354"/>
                    <a:pt x="39338" y="167259"/>
                    <a:pt x="34576" y="166402"/>
                  </a:cubicBezTo>
                  <a:cubicBezTo>
                    <a:pt x="31909" y="165164"/>
                    <a:pt x="30099" y="166973"/>
                    <a:pt x="28289" y="168402"/>
                  </a:cubicBezTo>
                  <a:cubicBezTo>
                    <a:pt x="25717" y="169736"/>
                    <a:pt x="22289" y="169926"/>
                    <a:pt x="21431" y="173450"/>
                  </a:cubicBezTo>
                  <a:cubicBezTo>
                    <a:pt x="21050" y="171641"/>
                    <a:pt x="20574" y="170212"/>
                    <a:pt x="18097" y="171260"/>
                  </a:cubicBezTo>
                  <a:cubicBezTo>
                    <a:pt x="16002" y="172212"/>
                    <a:pt x="12478" y="170117"/>
                    <a:pt x="11716" y="173927"/>
                  </a:cubicBezTo>
                  <a:cubicBezTo>
                    <a:pt x="11335" y="175641"/>
                    <a:pt x="11144" y="176784"/>
                    <a:pt x="9430" y="178022"/>
                  </a:cubicBezTo>
                  <a:cubicBezTo>
                    <a:pt x="6953" y="179927"/>
                    <a:pt x="4858" y="182690"/>
                    <a:pt x="6953" y="186404"/>
                  </a:cubicBezTo>
                  <a:cubicBezTo>
                    <a:pt x="7525" y="187452"/>
                    <a:pt x="7620" y="189167"/>
                    <a:pt x="7239" y="190310"/>
                  </a:cubicBezTo>
                  <a:cubicBezTo>
                    <a:pt x="5429" y="194691"/>
                    <a:pt x="3810" y="199358"/>
                    <a:pt x="1143" y="203264"/>
                  </a:cubicBezTo>
                  <a:cubicBezTo>
                    <a:pt x="-1905" y="207836"/>
                    <a:pt x="4096" y="212693"/>
                    <a:pt x="0" y="216789"/>
                  </a:cubicBezTo>
                  <a:cubicBezTo>
                    <a:pt x="0" y="216789"/>
                    <a:pt x="381" y="217265"/>
                    <a:pt x="571" y="217646"/>
                  </a:cubicBezTo>
                  <a:cubicBezTo>
                    <a:pt x="2572" y="221456"/>
                    <a:pt x="7239" y="220980"/>
                    <a:pt x="10001" y="221742"/>
                  </a:cubicBezTo>
                  <a:cubicBezTo>
                    <a:pt x="16097" y="223361"/>
                    <a:pt x="22384" y="222980"/>
                    <a:pt x="27718" y="227743"/>
                  </a:cubicBezTo>
                  <a:cubicBezTo>
                    <a:pt x="34290" y="233553"/>
                    <a:pt x="44767" y="230219"/>
                    <a:pt x="51054" y="236982"/>
                  </a:cubicBezTo>
                  <a:cubicBezTo>
                    <a:pt x="51340" y="237268"/>
                    <a:pt x="52673" y="237173"/>
                    <a:pt x="52959" y="236792"/>
                  </a:cubicBezTo>
                  <a:cubicBezTo>
                    <a:pt x="55245" y="234029"/>
                    <a:pt x="57817" y="236125"/>
                    <a:pt x="60293" y="236220"/>
                  </a:cubicBezTo>
                  <a:cubicBezTo>
                    <a:pt x="61817" y="237839"/>
                    <a:pt x="63627" y="237649"/>
                    <a:pt x="65818" y="237649"/>
                  </a:cubicBezTo>
                  <a:cubicBezTo>
                    <a:pt x="70485" y="237649"/>
                    <a:pt x="75248" y="238982"/>
                    <a:pt x="79915" y="239363"/>
                  </a:cubicBezTo>
                  <a:cubicBezTo>
                    <a:pt x="85534" y="239744"/>
                    <a:pt x="90964" y="242888"/>
                    <a:pt x="97060" y="240030"/>
                  </a:cubicBezTo>
                  <a:cubicBezTo>
                    <a:pt x="98489" y="239363"/>
                    <a:pt x="103251" y="237649"/>
                    <a:pt x="104489" y="240030"/>
                  </a:cubicBezTo>
                  <a:cubicBezTo>
                    <a:pt x="106870" y="244697"/>
                    <a:pt x="108490" y="243840"/>
                    <a:pt x="110871" y="239744"/>
                  </a:cubicBezTo>
                  <a:cubicBezTo>
                    <a:pt x="112109" y="242888"/>
                    <a:pt x="112871" y="246507"/>
                    <a:pt x="116205" y="242125"/>
                  </a:cubicBezTo>
                  <a:cubicBezTo>
                    <a:pt x="117919" y="239840"/>
                    <a:pt x="119063" y="242411"/>
                    <a:pt x="120491" y="243078"/>
                  </a:cubicBezTo>
                  <a:cubicBezTo>
                    <a:pt x="121539" y="243459"/>
                    <a:pt x="121920" y="245554"/>
                    <a:pt x="123634" y="244412"/>
                  </a:cubicBezTo>
                  <a:cubicBezTo>
                    <a:pt x="126778" y="248984"/>
                    <a:pt x="130016" y="242983"/>
                    <a:pt x="133255" y="244412"/>
                  </a:cubicBezTo>
                  <a:cubicBezTo>
                    <a:pt x="133636" y="248317"/>
                    <a:pt x="131350" y="248507"/>
                    <a:pt x="128492" y="247745"/>
                  </a:cubicBezTo>
                  <a:cubicBezTo>
                    <a:pt x="127826" y="252127"/>
                    <a:pt x="123253" y="253556"/>
                    <a:pt x="121444" y="257270"/>
                  </a:cubicBezTo>
                  <a:cubicBezTo>
                    <a:pt x="119158" y="262223"/>
                    <a:pt x="116872" y="267843"/>
                    <a:pt x="112966" y="271082"/>
                  </a:cubicBezTo>
                  <a:cubicBezTo>
                    <a:pt x="109538" y="273939"/>
                    <a:pt x="106680" y="276511"/>
                    <a:pt x="105156" y="280702"/>
                  </a:cubicBezTo>
                  <a:cubicBezTo>
                    <a:pt x="101917" y="283369"/>
                    <a:pt x="99441" y="287084"/>
                    <a:pt x="96202" y="289465"/>
                  </a:cubicBezTo>
                  <a:cubicBezTo>
                    <a:pt x="91250" y="293180"/>
                    <a:pt x="89440" y="298514"/>
                    <a:pt x="86582" y="303371"/>
                  </a:cubicBezTo>
                  <a:cubicBezTo>
                    <a:pt x="85153" y="305848"/>
                    <a:pt x="84201" y="307848"/>
                    <a:pt x="81629" y="309658"/>
                  </a:cubicBezTo>
                  <a:cubicBezTo>
                    <a:pt x="78867" y="311658"/>
                    <a:pt x="73533" y="311944"/>
                    <a:pt x="74104" y="317468"/>
                  </a:cubicBezTo>
                  <a:cubicBezTo>
                    <a:pt x="74104" y="317945"/>
                    <a:pt x="73057" y="318707"/>
                    <a:pt x="72295" y="319088"/>
                  </a:cubicBezTo>
                  <a:cubicBezTo>
                    <a:pt x="69056" y="321088"/>
                    <a:pt x="65913" y="322993"/>
                    <a:pt x="64865" y="327184"/>
                  </a:cubicBezTo>
                  <a:cubicBezTo>
                    <a:pt x="64579" y="328613"/>
                    <a:pt x="63437" y="330041"/>
                    <a:pt x="62293" y="330898"/>
                  </a:cubicBezTo>
                  <a:cubicBezTo>
                    <a:pt x="60293" y="332327"/>
                    <a:pt x="55912" y="337185"/>
                    <a:pt x="55435" y="339185"/>
                  </a:cubicBezTo>
                  <a:cubicBezTo>
                    <a:pt x="54578" y="342710"/>
                    <a:pt x="53530" y="346234"/>
                    <a:pt x="52864" y="349758"/>
                  </a:cubicBezTo>
                  <a:cubicBezTo>
                    <a:pt x="51911" y="354711"/>
                    <a:pt x="48958" y="359473"/>
                    <a:pt x="51149" y="364903"/>
                  </a:cubicBezTo>
                  <a:cubicBezTo>
                    <a:pt x="51721" y="366332"/>
                    <a:pt x="50864" y="368332"/>
                    <a:pt x="50959" y="370046"/>
                  </a:cubicBezTo>
                  <a:cubicBezTo>
                    <a:pt x="51244" y="375285"/>
                    <a:pt x="46006" y="380619"/>
                    <a:pt x="51149" y="385953"/>
                  </a:cubicBezTo>
                  <a:cubicBezTo>
                    <a:pt x="51911" y="386810"/>
                    <a:pt x="51530" y="388144"/>
                    <a:pt x="50578" y="388620"/>
                  </a:cubicBezTo>
                  <a:cubicBezTo>
                    <a:pt x="47625" y="389954"/>
                    <a:pt x="49816" y="391573"/>
                    <a:pt x="50578" y="392621"/>
                  </a:cubicBezTo>
                  <a:cubicBezTo>
                    <a:pt x="53912" y="397383"/>
                    <a:pt x="61341" y="394811"/>
                    <a:pt x="64484" y="400241"/>
                  </a:cubicBezTo>
                  <a:cubicBezTo>
                    <a:pt x="64484" y="400241"/>
                    <a:pt x="65913" y="399955"/>
                    <a:pt x="66199" y="399479"/>
                  </a:cubicBezTo>
                  <a:cubicBezTo>
                    <a:pt x="68199" y="396621"/>
                    <a:pt x="71342" y="397478"/>
                    <a:pt x="74009" y="396621"/>
                  </a:cubicBezTo>
                  <a:cubicBezTo>
                    <a:pt x="77343" y="395573"/>
                    <a:pt x="82582" y="395859"/>
                    <a:pt x="81629" y="389573"/>
                  </a:cubicBezTo>
                  <a:cubicBezTo>
                    <a:pt x="81439" y="388334"/>
                    <a:pt x="82772" y="385858"/>
                    <a:pt x="83629" y="385763"/>
                  </a:cubicBezTo>
                  <a:cubicBezTo>
                    <a:pt x="87820" y="385382"/>
                    <a:pt x="87439" y="381571"/>
                    <a:pt x="88868" y="379095"/>
                  </a:cubicBezTo>
                  <a:cubicBezTo>
                    <a:pt x="89630" y="380048"/>
                    <a:pt x="90297" y="380810"/>
                    <a:pt x="90773" y="381476"/>
                  </a:cubicBezTo>
                  <a:cubicBezTo>
                    <a:pt x="95155" y="376523"/>
                    <a:pt x="99346" y="371666"/>
                    <a:pt x="103537" y="366903"/>
                  </a:cubicBezTo>
                  <a:cubicBezTo>
                    <a:pt x="104870" y="365379"/>
                    <a:pt x="106013" y="362712"/>
                    <a:pt x="107537" y="362426"/>
                  </a:cubicBezTo>
                  <a:cubicBezTo>
                    <a:pt x="112776" y="361379"/>
                    <a:pt x="115824" y="357759"/>
                    <a:pt x="117157" y="353568"/>
                  </a:cubicBezTo>
                  <a:cubicBezTo>
                    <a:pt x="118967" y="347853"/>
                    <a:pt x="123253" y="346710"/>
                    <a:pt x="127826" y="345377"/>
                  </a:cubicBezTo>
                  <a:cubicBezTo>
                    <a:pt x="131731" y="344805"/>
                    <a:pt x="129159" y="341852"/>
                    <a:pt x="129826" y="340043"/>
                  </a:cubicBezTo>
                  <a:cubicBezTo>
                    <a:pt x="130874" y="338900"/>
                    <a:pt x="129445" y="334804"/>
                    <a:pt x="133636" y="337375"/>
                  </a:cubicBezTo>
                  <a:cubicBezTo>
                    <a:pt x="134779" y="338042"/>
                    <a:pt x="137065" y="335756"/>
                    <a:pt x="138017" y="333756"/>
                  </a:cubicBezTo>
                  <a:cubicBezTo>
                    <a:pt x="139827" y="329946"/>
                    <a:pt x="141161" y="325755"/>
                    <a:pt x="146018" y="324612"/>
                  </a:cubicBezTo>
                  <a:cubicBezTo>
                    <a:pt x="147066" y="324326"/>
                    <a:pt x="148590" y="324231"/>
                    <a:pt x="147733" y="322421"/>
                  </a:cubicBezTo>
                  <a:cubicBezTo>
                    <a:pt x="150304" y="316135"/>
                    <a:pt x="155639" y="312039"/>
                    <a:pt x="160592" y="308134"/>
                  </a:cubicBezTo>
                  <a:cubicBezTo>
                    <a:pt x="162401" y="306705"/>
                    <a:pt x="165735" y="306324"/>
                    <a:pt x="167069" y="303657"/>
                  </a:cubicBezTo>
                  <a:cubicBezTo>
                    <a:pt x="168116" y="301562"/>
                    <a:pt x="168688" y="299371"/>
                    <a:pt x="171831" y="301181"/>
                  </a:cubicBezTo>
                  <a:cubicBezTo>
                    <a:pt x="172402" y="301466"/>
                    <a:pt x="173545" y="300419"/>
                    <a:pt x="173355" y="299085"/>
                  </a:cubicBezTo>
                  <a:cubicBezTo>
                    <a:pt x="172974" y="296990"/>
                    <a:pt x="174784" y="296704"/>
                    <a:pt x="176117" y="296037"/>
                  </a:cubicBezTo>
                  <a:cubicBezTo>
                    <a:pt x="176308" y="298418"/>
                    <a:pt x="180118" y="298133"/>
                    <a:pt x="179737" y="300800"/>
                  </a:cubicBezTo>
                  <a:cubicBezTo>
                    <a:pt x="178689" y="307467"/>
                    <a:pt x="181737" y="313373"/>
                    <a:pt x="184309" y="318897"/>
                  </a:cubicBezTo>
                  <a:cubicBezTo>
                    <a:pt x="186976" y="324898"/>
                    <a:pt x="188214" y="331089"/>
                    <a:pt x="189547" y="337375"/>
                  </a:cubicBezTo>
                  <a:cubicBezTo>
                    <a:pt x="190595" y="342329"/>
                    <a:pt x="190405" y="347853"/>
                    <a:pt x="192595" y="352139"/>
                  </a:cubicBezTo>
                  <a:cubicBezTo>
                    <a:pt x="195072" y="356997"/>
                    <a:pt x="192595" y="362426"/>
                    <a:pt x="196024" y="367094"/>
                  </a:cubicBezTo>
                  <a:cubicBezTo>
                    <a:pt x="197263" y="368713"/>
                    <a:pt x="197072" y="372237"/>
                    <a:pt x="198596" y="374523"/>
                  </a:cubicBezTo>
                  <a:cubicBezTo>
                    <a:pt x="197834" y="381191"/>
                    <a:pt x="201549" y="387287"/>
                    <a:pt x="201263" y="393859"/>
                  </a:cubicBezTo>
                  <a:cubicBezTo>
                    <a:pt x="201073" y="397383"/>
                    <a:pt x="204121" y="399955"/>
                    <a:pt x="204406" y="403098"/>
                  </a:cubicBezTo>
                  <a:cubicBezTo>
                    <a:pt x="204883" y="407765"/>
                    <a:pt x="205740" y="412052"/>
                    <a:pt x="207931" y="416243"/>
                  </a:cubicBezTo>
                  <a:cubicBezTo>
                    <a:pt x="208978" y="418338"/>
                    <a:pt x="208502" y="421386"/>
                    <a:pt x="211741" y="422053"/>
                  </a:cubicBezTo>
                  <a:cubicBezTo>
                    <a:pt x="208693" y="425387"/>
                    <a:pt x="211360" y="428625"/>
                    <a:pt x="212122" y="431864"/>
                  </a:cubicBezTo>
                  <a:cubicBezTo>
                    <a:pt x="213931" y="438912"/>
                    <a:pt x="216884" y="445389"/>
                    <a:pt x="223266" y="449580"/>
                  </a:cubicBezTo>
                  <a:cubicBezTo>
                    <a:pt x="224790" y="450914"/>
                    <a:pt x="225838" y="453771"/>
                    <a:pt x="228695" y="451580"/>
                  </a:cubicBezTo>
                  <a:lnTo>
                    <a:pt x="228695" y="451580"/>
                  </a:lnTo>
                  <a:cubicBezTo>
                    <a:pt x="230315" y="450533"/>
                    <a:pt x="231934" y="449485"/>
                    <a:pt x="233648" y="451580"/>
                  </a:cubicBezTo>
                  <a:cubicBezTo>
                    <a:pt x="234220" y="452342"/>
                    <a:pt x="241554" y="449866"/>
                    <a:pt x="241840" y="448913"/>
                  </a:cubicBezTo>
                  <a:cubicBezTo>
                    <a:pt x="244602" y="440531"/>
                    <a:pt x="245173" y="431959"/>
                    <a:pt x="244030" y="423386"/>
                  </a:cubicBezTo>
                  <a:cubicBezTo>
                    <a:pt x="243173" y="417100"/>
                    <a:pt x="241745" y="410813"/>
                    <a:pt x="240601" y="404622"/>
                  </a:cubicBezTo>
                  <a:cubicBezTo>
                    <a:pt x="239459" y="398621"/>
                    <a:pt x="242221" y="391954"/>
                    <a:pt x="237172" y="386620"/>
                  </a:cubicBezTo>
                  <a:cubicBezTo>
                    <a:pt x="236792" y="386239"/>
                    <a:pt x="236982" y="385286"/>
                    <a:pt x="236982" y="384620"/>
                  </a:cubicBezTo>
                  <a:cubicBezTo>
                    <a:pt x="237268" y="376714"/>
                    <a:pt x="235172" y="369284"/>
                    <a:pt x="232981" y="361855"/>
                  </a:cubicBezTo>
                  <a:cubicBezTo>
                    <a:pt x="235077" y="357759"/>
                    <a:pt x="229648" y="354235"/>
                    <a:pt x="232029" y="350044"/>
                  </a:cubicBezTo>
                  <a:cubicBezTo>
                    <a:pt x="226409" y="342043"/>
                    <a:pt x="226123" y="332232"/>
                    <a:pt x="223456" y="323279"/>
                  </a:cubicBezTo>
                  <a:cubicBezTo>
                    <a:pt x="220409" y="313182"/>
                    <a:pt x="215360" y="304038"/>
                    <a:pt x="212503" y="294037"/>
                  </a:cubicBezTo>
                  <a:cubicBezTo>
                    <a:pt x="211741" y="291275"/>
                    <a:pt x="210217" y="287274"/>
                    <a:pt x="212217" y="285655"/>
                  </a:cubicBezTo>
                  <a:cubicBezTo>
                    <a:pt x="214694" y="283750"/>
                    <a:pt x="218885" y="288227"/>
                    <a:pt x="222123" y="284988"/>
                  </a:cubicBezTo>
                  <a:cubicBezTo>
                    <a:pt x="224599" y="290703"/>
                    <a:pt x="230695" y="290036"/>
                    <a:pt x="234410" y="289560"/>
                  </a:cubicBezTo>
                  <a:cubicBezTo>
                    <a:pt x="239649" y="288893"/>
                    <a:pt x="244030" y="291370"/>
                    <a:pt x="249079" y="291179"/>
                  </a:cubicBezTo>
                  <a:cubicBezTo>
                    <a:pt x="255175" y="290989"/>
                    <a:pt x="261556" y="292132"/>
                    <a:pt x="267843" y="292227"/>
                  </a:cubicBezTo>
                  <a:cubicBezTo>
                    <a:pt x="269367" y="292227"/>
                    <a:pt x="270891" y="290608"/>
                    <a:pt x="272701" y="291560"/>
                  </a:cubicBezTo>
                  <a:cubicBezTo>
                    <a:pt x="275939" y="293370"/>
                    <a:pt x="279749" y="290132"/>
                    <a:pt x="282893" y="292798"/>
                  </a:cubicBezTo>
                  <a:cubicBezTo>
                    <a:pt x="283083" y="292989"/>
                    <a:pt x="283750" y="291941"/>
                    <a:pt x="283464" y="291179"/>
                  </a:cubicBezTo>
                  <a:cubicBezTo>
                    <a:pt x="283178" y="290513"/>
                    <a:pt x="282131" y="289655"/>
                    <a:pt x="283464" y="289179"/>
                  </a:cubicBezTo>
                  <a:cubicBezTo>
                    <a:pt x="284226" y="288893"/>
                    <a:pt x="285179" y="289084"/>
                    <a:pt x="285560" y="290132"/>
                  </a:cubicBezTo>
                  <a:cubicBezTo>
                    <a:pt x="286226" y="291751"/>
                    <a:pt x="287179" y="291465"/>
                    <a:pt x="288893" y="291656"/>
                  </a:cubicBezTo>
                  <a:cubicBezTo>
                    <a:pt x="296132" y="292418"/>
                    <a:pt x="302419" y="287655"/>
                    <a:pt x="309944" y="288893"/>
                  </a:cubicBezTo>
                  <a:cubicBezTo>
                    <a:pt x="313468" y="289465"/>
                    <a:pt x="319849" y="288417"/>
                    <a:pt x="322421" y="283083"/>
                  </a:cubicBezTo>
                  <a:cubicBezTo>
                    <a:pt x="322802" y="282226"/>
                    <a:pt x="323755" y="281845"/>
                    <a:pt x="324517" y="282797"/>
                  </a:cubicBezTo>
                  <a:cubicBezTo>
                    <a:pt x="327184" y="286417"/>
                    <a:pt x="330803" y="284702"/>
                    <a:pt x="333756" y="283940"/>
                  </a:cubicBezTo>
                  <a:cubicBezTo>
                    <a:pt x="336995" y="283178"/>
                    <a:pt x="339376" y="283940"/>
                    <a:pt x="341567" y="285941"/>
                  </a:cubicBezTo>
                  <a:cubicBezTo>
                    <a:pt x="343567" y="286417"/>
                    <a:pt x="344615" y="285083"/>
                    <a:pt x="345853" y="283940"/>
                  </a:cubicBezTo>
                  <a:cubicBezTo>
                    <a:pt x="346043" y="284512"/>
                    <a:pt x="346139" y="285750"/>
                    <a:pt x="346996" y="284988"/>
                  </a:cubicBezTo>
                  <a:cubicBezTo>
                    <a:pt x="348234" y="284036"/>
                    <a:pt x="346424" y="282893"/>
                    <a:pt x="346710" y="281750"/>
                  </a:cubicBezTo>
                  <a:cubicBezTo>
                    <a:pt x="351282" y="278606"/>
                    <a:pt x="356807" y="282035"/>
                    <a:pt x="361474" y="279559"/>
                  </a:cubicBezTo>
                  <a:cubicBezTo>
                    <a:pt x="364331" y="281369"/>
                    <a:pt x="363093" y="278511"/>
                    <a:pt x="363569" y="277749"/>
                  </a:cubicBezTo>
                  <a:cubicBezTo>
                    <a:pt x="366617" y="275939"/>
                    <a:pt x="367665" y="273177"/>
                    <a:pt x="366046" y="270129"/>
                  </a:cubicBezTo>
                  <a:cubicBezTo>
                    <a:pt x="364522" y="267367"/>
                    <a:pt x="364236" y="265462"/>
                    <a:pt x="366903" y="263271"/>
                  </a:cubicBezTo>
                  <a:cubicBezTo>
                    <a:pt x="368522" y="262033"/>
                    <a:pt x="369094" y="259461"/>
                    <a:pt x="367951" y="257556"/>
                  </a:cubicBezTo>
                  <a:moveTo>
                    <a:pt x="155543" y="115348"/>
                  </a:moveTo>
                  <a:cubicBezTo>
                    <a:pt x="157067" y="115443"/>
                    <a:pt x="157734" y="116205"/>
                    <a:pt x="157448" y="117729"/>
                  </a:cubicBezTo>
                  <a:cubicBezTo>
                    <a:pt x="157353" y="118396"/>
                    <a:pt x="157163" y="119253"/>
                    <a:pt x="156305" y="119158"/>
                  </a:cubicBezTo>
                  <a:cubicBezTo>
                    <a:pt x="154876" y="118967"/>
                    <a:pt x="154495" y="117824"/>
                    <a:pt x="154115" y="116586"/>
                  </a:cubicBezTo>
                  <a:cubicBezTo>
                    <a:pt x="153638" y="115062"/>
                    <a:pt x="154876" y="115443"/>
                    <a:pt x="155543" y="115348"/>
                  </a:cubicBezTo>
                  <a:moveTo>
                    <a:pt x="158591" y="155543"/>
                  </a:moveTo>
                  <a:cubicBezTo>
                    <a:pt x="157544" y="156020"/>
                    <a:pt x="156305" y="156020"/>
                    <a:pt x="155353" y="156877"/>
                  </a:cubicBezTo>
                  <a:cubicBezTo>
                    <a:pt x="152305" y="159544"/>
                    <a:pt x="150876" y="158687"/>
                    <a:pt x="149447" y="154591"/>
                  </a:cubicBezTo>
                  <a:cubicBezTo>
                    <a:pt x="145733" y="143923"/>
                    <a:pt x="145923" y="132302"/>
                    <a:pt x="141161" y="121920"/>
                  </a:cubicBezTo>
                  <a:cubicBezTo>
                    <a:pt x="140779" y="121063"/>
                    <a:pt x="141446" y="119634"/>
                    <a:pt x="141637" y="118491"/>
                  </a:cubicBezTo>
                  <a:lnTo>
                    <a:pt x="143066" y="118491"/>
                  </a:lnTo>
                  <a:cubicBezTo>
                    <a:pt x="146399" y="121063"/>
                    <a:pt x="145733" y="127159"/>
                    <a:pt x="151257" y="127921"/>
                  </a:cubicBezTo>
                  <a:cubicBezTo>
                    <a:pt x="151352" y="127921"/>
                    <a:pt x="151543" y="128492"/>
                    <a:pt x="151543" y="128683"/>
                  </a:cubicBezTo>
                  <a:cubicBezTo>
                    <a:pt x="149543" y="134017"/>
                    <a:pt x="154305" y="136208"/>
                    <a:pt x="156972" y="138303"/>
                  </a:cubicBezTo>
                  <a:cubicBezTo>
                    <a:pt x="160782" y="141161"/>
                    <a:pt x="162877" y="144971"/>
                    <a:pt x="163830" y="148876"/>
                  </a:cubicBezTo>
                  <a:cubicBezTo>
                    <a:pt x="164306" y="150876"/>
                    <a:pt x="161449" y="154210"/>
                    <a:pt x="158591" y="155543"/>
                  </a:cubicBezTo>
                  <a:moveTo>
                    <a:pt x="228028" y="149257"/>
                  </a:moveTo>
                  <a:cubicBezTo>
                    <a:pt x="224504" y="153352"/>
                    <a:pt x="222409" y="159734"/>
                    <a:pt x="218503" y="161735"/>
                  </a:cubicBezTo>
                  <a:cubicBezTo>
                    <a:pt x="210979" y="165735"/>
                    <a:pt x="211169" y="173450"/>
                    <a:pt x="206978" y="178689"/>
                  </a:cubicBezTo>
                  <a:cubicBezTo>
                    <a:pt x="206597" y="179165"/>
                    <a:pt x="206216" y="180404"/>
                    <a:pt x="206026" y="180404"/>
                  </a:cubicBezTo>
                  <a:cubicBezTo>
                    <a:pt x="198120" y="178879"/>
                    <a:pt x="196596" y="188690"/>
                    <a:pt x="189643" y="189548"/>
                  </a:cubicBezTo>
                  <a:cubicBezTo>
                    <a:pt x="187643" y="189833"/>
                    <a:pt x="187928" y="195453"/>
                    <a:pt x="185642" y="198025"/>
                  </a:cubicBezTo>
                  <a:cubicBezTo>
                    <a:pt x="184499" y="199358"/>
                    <a:pt x="184499" y="201549"/>
                    <a:pt x="182690" y="202597"/>
                  </a:cubicBezTo>
                  <a:cubicBezTo>
                    <a:pt x="182690" y="201073"/>
                    <a:pt x="182690" y="199549"/>
                    <a:pt x="180689" y="199168"/>
                  </a:cubicBezTo>
                  <a:cubicBezTo>
                    <a:pt x="179451" y="197072"/>
                    <a:pt x="178498" y="194786"/>
                    <a:pt x="176403" y="193453"/>
                  </a:cubicBezTo>
                  <a:cubicBezTo>
                    <a:pt x="176403" y="189262"/>
                    <a:pt x="179642" y="187166"/>
                    <a:pt x="182023" y="184404"/>
                  </a:cubicBezTo>
                  <a:cubicBezTo>
                    <a:pt x="183261" y="182975"/>
                    <a:pt x="186309" y="182499"/>
                    <a:pt x="184880" y="179261"/>
                  </a:cubicBezTo>
                  <a:cubicBezTo>
                    <a:pt x="184404" y="178213"/>
                    <a:pt x="185356" y="178118"/>
                    <a:pt x="186214" y="178879"/>
                  </a:cubicBezTo>
                  <a:cubicBezTo>
                    <a:pt x="187547" y="180023"/>
                    <a:pt x="188023" y="178213"/>
                    <a:pt x="188500" y="177641"/>
                  </a:cubicBezTo>
                  <a:cubicBezTo>
                    <a:pt x="190310" y="175546"/>
                    <a:pt x="189643" y="170879"/>
                    <a:pt x="194500" y="171736"/>
                  </a:cubicBezTo>
                  <a:cubicBezTo>
                    <a:pt x="196787" y="165068"/>
                    <a:pt x="203740" y="162116"/>
                    <a:pt x="207073" y="155829"/>
                  </a:cubicBezTo>
                  <a:cubicBezTo>
                    <a:pt x="209550" y="151257"/>
                    <a:pt x="214408" y="147542"/>
                    <a:pt x="218313" y="143542"/>
                  </a:cubicBezTo>
                  <a:cubicBezTo>
                    <a:pt x="222314" y="139446"/>
                    <a:pt x="225552" y="134874"/>
                    <a:pt x="229267" y="130588"/>
                  </a:cubicBezTo>
                  <a:cubicBezTo>
                    <a:pt x="233553" y="125635"/>
                    <a:pt x="235553" y="119158"/>
                    <a:pt x="240316" y="114871"/>
                  </a:cubicBezTo>
                  <a:cubicBezTo>
                    <a:pt x="243649" y="111823"/>
                    <a:pt x="247078" y="108966"/>
                    <a:pt x="249936" y="105346"/>
                  </a:cubicBezTo>
                  <a:cubicBezTo>
                    <a:pt x="253460" y="100965"/>
                    <a:pt x="257461" y="96869"/>
                    <a:pt x="262795" y="94107"/>
                  </a:cubicBezTo>
                  <a:cubicBezTo>
                    <a:pt x="266795" y="92012"/>
                    <a:pt x="268224" y="86677"/>
                    <a:pt x="272129" y="84201"/>
                  </a:cubicBezTo>
                  <a:cubicBezTo>
                    <a:pt x="274511" y="84582"/>
                    <a:pt x="275749" y="83725"/>
                    <a:pt x="275368" y="81153"/>
                  </a:cubicBezTo>
                  <a:cubicBezTo>
                    <a:pt x="276320" y="81725"/>
                    <a:pt x="278035" y="79915"/>
                    <a:pt x="278320" y="81820"/>
                  </a:cubicBezTo>
                  <a:cubicBezTo>
                    <a:pt x="278511" y="83153"/>
                    <a:pt x="279083" y="85249"/>
                    <a:pt x="277273" y="85916"/>
                  </a:cubicBezTo>
                  <a:cubicBezTo>
                    <a:pt x="271653" y="88106"/>
                    <a:pt x="270034" y="94012"/>
                    <a:pt x="266319" y="97917"/>
                  </a:cubicBezTo>
                  <a:cubicBezTo>
                    <a:pt x="262890" y="101537"/>
                    <a:pt x="259651" y="105632"/>
                    <a:pt x="256889" y="109728"/>
                  </a:cubicBezTo>
                  <a:cubicBezTo>
                    <a:pt x="253651" y="114300"/>
                    <a:pt x="249841" y="118491"/>
                    <a:pt x="247174" y="123349"/>
                  </a:cubicBezTo>
                  <a:cubicBezTo>
                    <a:pt x="245936" y="123635"/>
                    <a:pt x="245459" y="124587"/>
                    <a:pt x="245173" y="125730"/>
                  </a:cubicBezTo>
                  <a:cubicBezTo>
                    <a:pt x="242888" y="126016"/>
                    <a:pt x="244793" y="129635"/>
                    <a:pt x="242125" y="129635"/>
                  </a:cubicBezTo>
                  <a:cubicBezTo>
                    <a:pt x="242125" y="128969"/>
                    <a:pt x="242125" y="128016"/>
                    <a:pt x="241268" y="128397"/>
                  </a:cubicBezTo>
                  <a:cubicBezTo>
                    <a:pt x="239363" y="129254"/>
                    <a:pt x="241268" y="130778"/>
                    <a:pt x="240887" y="131921"/>
                  </a:cubicBezTo>
                  <a:cubicBezTo>
                    <a:pt x="233744" y="135636"/>
                    <a:pt x="232886" y="143923"/>
                    <a:pt x="228314" y="149257"/>
                  </a:cubicBezTo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7DEC486F-5F10-0A25-DEB6-95339F099A20}"/>
                </a:ext>
              </a:extLst>
            </p:cNvPr>
            <p:cNvSpPr/>
            <p:nvPr/>
          </p:nvSpPr>
          <p:spPr>
            <a:xfrm>
              <a:off x="11226339" y="6219846"/>
              <a:ext cx="512041" cy="776474"/>
            </a:xfrm>
            <a:custGeom>
              <a:avLst/>
              <a:gdLst>
                <a:gd name="connsiteX0" fmla="*/ 468035 w 512041"/>
                <a:gd name="connsiteY0" fmla="*/ 583116 h 776474"/>
                <a:gd name="connsiteX1" fmla="*/ 467945 w 512041"/>
                <a:gd name="connsiteY1" fmla="*/ 583143 h 776474"/>
                <a:gd name="connsiteX2" fmla="*/ 468894 w 512041"/>
                <a:gd name="connsiteY2" fmla="*/ 588831 h 776474"/>
                <a:gd name="connsiteX3" fmla="*/ 467101 w 512041"/>
                <a:gd name="connsiteY3" fmla="*/ 585493 h 776474"/>
                <a:gd name="connsiteX4" fmla="*/ 468893 w 512041"/>
                <a:gd name="connsiteY4" fmla="*/ 588831 h 776474"/>
                <a:gd name="connsiteX5" fmla="*/ 468894 w 512041"/>
                <a:gd name="connsiteY5" fmla="*/ 588831 h 776474"/>
                <a:gd name="connsiteX6" fmla="*/ 468988 w 512041"/>
                <a:gd name="connsiteY6" fmla="*/ 588831 h 776474"/>
                <a:gd name="connsiteX7" fmla="*/ 468035 w 512041"/>
                <a:gd name="connsiteY7" fmla="*/ 583116 h 776474"/>
                <a:gd name="connsiteX8" fmla="*/ 457368 w 512041"/>
                <a:gd name="connsiteY8" fmla="*/ 573019 h 776474"/>
                <a:gd name="connsiteX9" fmla="*/ 449843 w 512041"/>
                <a:gd name="connsiteY9" fmla="*/ 576162 h 776474"/>
                <a:gd name="connsiteX10" fmla="*/ 449844 w 512041"/>
                <a:gd name="connsiteY10" fmla="*/ 576163 h 776474"/>
                <a:gd name="connsiteX11" fmla="*/ 453142 w 512041"/>
                <a:gd name="connsiteY11" fmla="*/ 574128 h 776474"/>
                <a:gd name="connsiteX12" fmla="*/ 457368 w 512041"/>
                <a:gd name="connsiteY12" fmla="*/ 573020 h 776474"/>
                <a:gd name="connsiteX13" fmla="*/ 251628 w 512041"/>
                <a:gd name="connsiteY13" fmla="*/ 544349 h 776474"/>
                <a:gd name="connsiteX14" fmla="*/ 250675 w 512041"/>
                <a:gd name="connsiteY14" fmla="*/ 552255 h 776474"/>
                <a:gd name="connsiteX15" fmla="*/ 250676 w 512041"/>
                <a:gd name="connsiteY15" fmla="*/ 552253 h 776474"/>
                <a:gd name="connsiteX16" fmla="*/ 50174 w 512041"/>
                <a:gd name="connsiteY16" fmla="*/ 541301 h 776474"/>
                <a:gd name="connsiteX17" fmla="*/ 51222 w 512041"/>
                <a:gd name="connsiteY17" fmla="*/ 547111 h 776474"/>
                <a:gd name="connsiteX18" fmla="*/ 50174 w 512041"/>
                <a:gd name="connsiteY18" fmla="*/ 541301 h 776474"/>
                <a:gd name="connsiteX19" fmla="*/ 447843 w 512041"/>
                <a:gd name="connsiteY19" fmla="*/ 531204 h 776474"/>
                <a:gd name="connsiteX20" fmla="*/ 447843 w 512041"/>
                <a:gd name="connsiteY20" fmla="*/ 538443 h 776474"/>
                <a:gd name="connsiteX21" fmla="*/ 447938 w 512041"/>
                <a:gd name="connsiteY21" fmla="*/ 538090 h 776474"/>
                <a:gd name="connsiteX22" fmla="*/ 447938 w 512041"/>
                <a:gd name="connsiteY22" fmla="*/ 531653 h 776474"/>
                <a:gd name="connsiteX23" fmla="*/ 373738 w 512041"/>
                <a:gd name="connsiteY23" fmla="*/ 497391 h 776474"/>
                <a:gd name="connsiteX24" fmla="*/ 371547 w 512041"/>
                <a:gd name="connsiteY24" fmla="*/ 499581 h 776474"/>
                <a:gd name="connsiteX25" fmla="*/ 372404 w 512041"/>
                <a:gd name="connsiteY25" fmla="*/ 502534 h 776474"/>
                <a:gd name="connsiteX26" fmla="*/ 372404 w 512041"/>
                <a:gd name="connsiteY26" fmla="*/ 502629 h 776474"/>
                <a:gd name="connsiteX27" fmla="*/ 374976 w 512041"/>
                <a:gd name="connsiteY27" fmla="*/ 499391 h 776474"/>
                <a:gd name="connsiteX28" fmla="*/ 374952 w 512041"/>
                <a:gd name="connsiteY28" fmla="*/ 499351 h 776474"/>
                <a:gd name="connsiteX29" fmla="*/ 372500 w 512041"/>
                <a:gd name="connsiteY29" fmla="*/ 502439 h 776474"/>
                <a:gd name="connsiteX30" fmla="*/ 371643 w 512041"/>
                <a:gd name="connsiteY30" fmla="*/ 499486 h 776474"/>
                <a:gd name="connsiteX31" fmla="*/ 373738 w 512041"/>
                <a:gd name="connsiteY31" fmla="*/ 497391 h 776474"/>
                <a:gd name="connsiteX32" fmla="*/ 359260 w 512041"/>
                <a:gd name="connsiteY32" fmla="*/ 480341 h 776474"/>
                <a:gd name="connsiteX33" fmla="*/ 357164 w 512041"/>
                <a:gd name="connsiteY33" fmla="*/ 481674 h 776474"/>
                <a:gd name="connsiteX34" fmla="*/ 361070 w 512041"/>
                <a:gd name="connsiteY34" fmla="*/ 486532 h 776474"/>
                <a:gd name="connsiteX35" fmla="*/ 361165 w 512041"/>
                <a:gd name="connsiteY35" fmla="*/ 486532 h 776474"/>
                <a:gd name="connsiteX36" fmla="*/ 357260 w 512041"/>
                <a:gd name="connsiteY36" fmla="*/ 481675 h 776474"/>
                <a:gd name="connsiteX37" fmla="*/ 359276 w 512041"/>
                <a:gd name="connsiteY37" fmla="*/ 480391 h 776474"/>
                <a:gd name="connsiteX38" fmla="*/ 351354 w 512041"/>
                <a:gd name="connsiteY38" fmla="*/ 471959 h 776474"/>
                <a:gd name="connsiteX39" fmla="*/ 348592 w 512041"/>
                <a:gd name="connsiteY39" fmla="*/ 473769 h 776474"/>
                <a:gd name="connsiteX40" fmla="*/ 351450 w 512041"/>
                <a:gd name="connsiteY40" fmla="*/ 476817 h 776474"/>
                <a:gd name="connsiteX41" fmla="*/ 351578 w 512041"/>
                <a:gd name="connsiteY41" fmla="*/ 476750 h 776474"/>
                <a:gd name="connsiteX42" fmla="*/ 348783 w 512041"/>
                <a:gd name="connsiteY42" fmla="*/ 473769 h 776474"/>
                <a:gd name="connsiteX43" fmla="*/ 351413 w 512041"/>
                <a:gd name="connsiteY43" fmla="*/ 472045 h 776474"/>
                <a:gd name="connsiteX44" fmla="*/ 76273 w 512041"/>
                <a:gd name="connsiteY44" fmla="*/ 434145 h 776474"/>
                <a:gd name="connsiteX45" fmla="*/ 87131 w 512041"/>
                <a:gd name="connsiteY45" fmla="*/ 444242 h 776474"/>
                <a:gd name="connsiteX46" fmla="*/ 87417 w 512041"/>
                <a:gd name="connsiteY46" fmla="*/ 444242 h 776474"/>
                <a:gd name="connsiteX47" fmla="*/ 87703 w 512041"/>
                <a:gd name="connsiteY47" fmla="*/ 465482 h 776474"/>
                <a:gd name="connsiteX48" fmla="*/ 80559 w 512041"/>
                <a:gd name="connsiteY48" fmla="*/ 489199 h 776474"/>
                <a:gd name="connsiteX49" fmla="*/ 76273 w 512041"/>
                <a:gd name="connsiteY49" fmla="*/ 497772 h 776474"/>
                <a:gd name="connsiteX50" fmla="*/ 76844 w 512041"/>
                <a:gd name="connsiteY50" fmla="*/ 500629 h 776474"/>
                <a:gd name="connsiteX51" fmla="*/ 73891 w 512041"/>
                <a:gd name="connsiteY51" fmla="*/ 507488 h 776474"/>
                <a:gd name="connsiteX52" fmla="*/ 71510 w 512041"/>
                <a:gd name="connsiteY52" fmla="*/ 511202 h 776474"/>
                <a:gd name="connsiteX53" fmla="*/ 63033 w 512041"/>
                <a:gd name="connsiteY53" fmla="*/ 525299 h 776474"/>
                <a:gd name="connsiteX54" fmla="*/ 50269 w 512041"/>
                <a:gd name="connsiteY54" fmla="*/ 541206 h 776474"/>
                <a:gd name="connsiteX55" fmla="*/ 49412 w 512041"/>
                <a:gd name="connsiteY55" fmla="*/ 541587 h 776474"/>
                <a:gd name="connsiteX56" fmla="*/ 32267 w 512041"/>
                <a:gd name="connsiteY56" fmla="*/ 570257 h 776474"/>
                <a:gd name="connsiteX57" fmla="*/ 29314 w 512041"/>
                <a:gd name="connsiteY57" fmla="*/ 573686 h 776474"/>
                <a:gd name="connsiteX58" fmla="*/ 21028 w 512041"/>
                <a:gd name="connsiteY58" fmla="*/ 579497 h 776474"/>
                <a:gd name="connsiteX59" fmla="*/ 9979 w 512041"/>
                <a:gd name="connsiteY59" fmla="*/ 569400 h 776474"/>
                <a:gd name="connsiteX60" fmla="*/ 11979 w 512041"/>
                <a:gd name="connsiteY60" fmla="*/ 548064 h 776474"/>
                <a:gd name="connsiteX61" fmla="*/ 15408 w 512041"/>
                <a:gd name="connsiteY61" fmla="*/ 520061 h 776474"/>
                <a:gd name="connsiteX62" fmla="*/ 26933 w 512041"/>
                <a:gd name="connsiteY62" fmla="*/ 491581 h 776474"/>
                <a:gd name="connsiteX63" fmla="*/ 37506 w 512041"/>
                <a:gd name="connsiteY63" fmla="*/ 476626 h 776474"/>
                <a:gd name="connsiteX64" fmla="*/ 54651 w 512041"/>
                <a:gd name="connsiteY64" fmla="*/ 452623 h 776474"/>
                <a:gd name="connsiteX65" fmla="*/ 65890 w 512041"/>
                <a:gd name="connsiteY65" fmla="*/ 441479 h 776474"/>
                <a:gd name="connsiteX66" fmla="*/ 76273 w 512041"/>
                <a:gd name="connsiteY66" fmla="*/ 434145 h 776474"/>
                <a:gd name="connsiteX67" fmla="*/ 337484 w 512041"/>
                <a:gd name="connsiteY67" fmla="*/ 428358 h 776474"/>
                <a:gd name="connsiteX68" fmla="*/ 340591 w 512041"/>
                <a:gd name="connsiteY68" fmla="*/ 431668 h 776474"/>
                <a:gd name="connsiteX69" fmla="*/ 348687 w 512041"/>
                <a:gd name="connsiteY69" fmla="*/ 432906 h 776474"/>
                <a:gd name="connsiteX70" fmla="*/ 350021 w 512041"/>
                <a:gd name="connsiteY70" fmla="*/ 431859 h 776474"/>
                <a:gd name="connsiteX71" fmla="*/ 363260 w 512041"/>
                <a:gd name="connsiteY71" fmla="*/ 440431 h 776474"/>
                <a:gd name="connsiteX72" fmla="*/ 370214 w 512041"/>
                <a:gd name="connsiteY72" fmla="*/ 448623 h 776474"/>
                <a:gd name="connsiteX73" fmla="*/ 381453 w 512041"/>
                <a:gd name="connsiteY73" fmla="*/ 462720 h 776474"/>
                <a:gd name="connsiteX74" fmla="*/ 383739 w 512041"/>
                <a:gd name="connsiteY74" fmla="*/ 465482 h 776474"/>
                <a:gd name="connsiteX75" fmla="*/ 410600 w 512041"/>
                <a:gd name="connsiteY75" fmla="*/ 489009 h 776474"/>
                <a:gd name="connsiteX76" fmla="*/ 414314 w 512041"/>
                <a:gd name="connsiteY76" fmla="*/ 496248 h 776474"/>
                <a:gd name="connsiteX77" fmla="*/ 422220 w 512041"/>
                <a:gd name="connsiteY77" fmla="*/ 502058 h 776474"/>
                <a:gd name="connsiteX78" fmla="*/ 428602 w 512041"/>
                <a:gd name="connsiteY78" fmla="*/ 507487 h 776474"/>
                <a:gd name="connsiteX79" fmla="*/ 454796 w 512041"/>
                <a:gd name="connsiteY79" fmla="*/ 529395 h 776474"/>
                <a:gd name="connsiteX80" fmla="*/ 458987 w 512041"/>
                <a:gd name="connsiteY80" fmla="*/ 535586 h 776474"/>
                <a:gd name="connsiteX81" fmla="*/ 466893 w 512041"/>
                <a:gd name="connsiteY81" fmla="*/ 542730 h 776474"/>
                <a:gd name="connsiteX82" fmla="*/ 466797 w 512041"/>
                <a:gd name="connsiteY82" fmla="*/ 542730 h 776474"/>
                <a:gd name="connsiteX83" fmla="*/ 469560 w 512041"/>
                <a:gd name="connsiteY83" fmla="*/ 543777 h 776474"/>
                <a:gd name="connsiteX84" fmla="*/ 478989 w 512041"/>
                <a:gd name="connsiteY84" fmla="*/ 582354 h 776474"/>
                <a:gd name="connsiteX85" fmla="*/ 476227 w 512041"/>
                <a:gd name="connsiteY85" fmla="*/ 600832 h 776474"/>
                <a:gd name="connsiteX86" fmla="*/ 473274 w 512041"/>
                <a:gd name="connsiteY86" fmla="*/ 602642 h 776474"/>
                <a:gd name="connsiteX87" fmla="*/ 445461 w 512041"/>
                <a:gd name="connsiteY87" fmla="*/ 596070 h 776474"/>
                <a:gd name="connsiteX88" fmla="*/ 433269 w 512041"/>
                <a:gd name="connsiteY88" fmla="*/ 591117 h 776474"/>
                <a:gd name="connsiteX89" fmla="*/ 417362 w 512041"/>
                <a:gd name="connsiteY89" fmla="*/ 577305 h 776474"/>
                <a:gd name="connsiteX90" fmla="*/ 414886 w 512041"/>
                <a:gd name="connsiteY90" fmla="*/ 574734 h 776474"/>
                <a:gd name="connsiteX91" fmla="*/ 405171 w 512041"/>
                <a:gd name="connsiteY91" fmla="*/ 568257 h 776474"/>
                <a:gd name="connsiteX92" fmla="*/ 390121 w 512041"/>
                <a:gd name="connsiteY92" fmla="*/ 554350 h 776474"/>
                <a:gd name="connsiteX93" fmla="*/ 378215 w 512041"/>
                <a:gd name="connsiteY93" fmla="*/ 542634 h 776474"/>
                <a:gd name="connsiteX94" fmla="*/ 355545 w 512041"/>
                <a:gd name="connsiteY94" fmla="*/ 511297 h 776474"/>
                <a:gd name="connsiteX95" fmla="*/ 337924 w 512041"/>
                <a:gd name="connsiteY95" fmla="*/ 491390 h 776474"/>
                <a:gd name="connsiteX96" fmla="*/ 329447 w 512041"/>
                <a:gd name="connsiteY96" fmla="*/ 472054 h 776474"/>
                <a:gd name="connsiteX97" fmla="*/ 331066 w 512041"/>
                <a:gd name="connsiteY97" fmla="*/ 468244 h 776474"/>
                <a:gd name="connsiteX98" fmla="*/ 330971 w 512041"/>
                <a:gd name="connsiteY98" fmla="*/ 465958 h 776474"/>
                <a:gd name="connsiteX99" fmla="*/ 329733 w 512041"/>
                <a:gd name="connsiteY99" fmla="*/ 463101 h 776474"/>
                <a:gd name="connsiteX100" fmla="*/ 331542 w 512041"/>
                <a:gd name="connsiteY100" fmla="*/ 440336 h 776474"/>
                <a:gd name="connsiteX101" fmla="*/ 334304 w 512041"/>
                <a:gd name="connsiteY101" fmla="*/ 431478 h 776474"/>
                <a:gd name="connsiteX102" fmla="*/ 337484 w 512041"/>
                <a:gd name="connsiteY102" fmla="*/ 428358 h 776474"/>
                <a:gd name="connsiteX103" fmla="*/ 307445 w 512041"/>
                <a:gd name="connsiteY103" fmla="*/ 252503 h 776474"/>
                <a:gd name="connsiteX104" fmla="*/ 307540 w 512041"/>
                <a:gd name="connsiteY104" fmla="*/ 252503 h 776474"/>
                <a:gd name="connsiteX105" fmla="*/ 307505 w 512041"/>
                <a:gd name="connsiteY105" fmla="*/ 252555 h 776474"/>
                <a:gd name="connsiteX106" fmla="*/ 307444 w 512041"/>
                <a:gd name="connsiteY106" fmla="*/ 252218 h 776474"/>
                <a:gd name="connsiteX107" fmla="*/ 305920 w 512041"/>
                <a:gd name="connsiteY107" fmla="*/ 254599 h 776474"/>
                <a:gd name="connsiteX108" fmla="*/ 306068 w 512041"/>
                <a:gd name="connsiteY108" fmla="*/ 254711 h 776474"/>
                <a:gd name="connsiteX109" fmla="*/ 307505 w 512041"/>
                <a:gd name="connsiteY109" fmla="*/ 252555 h 776474"/>
                <a:gd name="connsiteX110" fmla="*/ 309672 w 512041"/>
                <a:gd name="connsiteY110" fmla="*/ 254452 h 776474"/>
                <a:gd name="connsiteX111" fmla="*/ 309730 w 512041"/>
                <a:gd name="connsiteY111" fmla="*/ 254218 h 776474"/>
                <a:gd name="connsiteX112" fmla="*/ 307444 w 512041"/>
                <a:gd name="connsiteY112" fmla="*/ 252218 h 776474"/>
                <a:gd name="connsiteX113" fmla="*/ 227148 w 512041"/>
                <a:gd name="connsiteY113" fmla="*/ 202307 h 776474"/>
                <a:gd name="connsiteX114" fmla="*/ 225625 w 512041"/>
                <a:gd name="connsiteY114" fmla="*/ 207641 h 776474"/>
                <a:gd name="connsiteX115" fmla="*/ 215528 w 512041"/>
                <a:gd name="connsiteY115" fmla="*/ 246122 h 776474"/>
                <a:gd name="connsiteX116" fmla="*/ 206860 w 512041"/>
                <a:gd name="connsiteY116" fmla="*/ 272982 h 776474"/>
                <a:gd name="connsiteX117" fmla="*/ 198383 w 512041"/>
                <a:gd name="connsiteY117" fmla="*/ 290699 h 776474"/>
                <a:gd name="connsiteX118" fmla="*/ 196192 w 512041"/>
                <a:gd name="connsiteY118" fmla="*/ 294128 h 776474"/>
                <a:gd name="connsiteX119" fmla="*/ 182667 w 512041"/>
                <a:gd name="connsiteY119" fmla="*/ 305367 h 776474"/>
                <a:gd name="connsiteX120" fmla="*/ 182667 w 512041"/>
                <a:gd name="connsiteY120" fmla="*/ 311844 h 776474"/>
                <a:gd name="connsiteX121" fmla="*/ 192382 w 512041"/>
                <a:gd name="connsiteY121" fmla="*/ 324131 h 776474"/>
                <a:gd name="connsiteX122" fmla="*/ 204003 w 512041"/>
                <a:gd name="connsiteY122" fmla="*/ 363946 h 776474"/>
                <a:gd name="connsiteX123" fmla="*/ 215528 w 512041"/>
                <a:gd name="connsiteY123" fmla="*/ 439384 h 776474"/>
                <a:gd name="connsiteX124" fmla="*/ 222100 w 512041"/>
                <a:gd name="connsiteY124" fmla="*/ 409475 h 776474"/>
                <a:gd name="connsiteX125" fmla="*/ 221148 w 512041"/>
                <a:gd name="connsiteY125" fmla="*/ 389282 h 776474"/>
                <a:gd name="connsiteX126" fmla="*/ 228958 w 512041"/>
                <a:gd name="connsiteY126" fmla="*/ 363184 h 776474"/>
                <a:gd name="connsiteX127" fmla="*/ 239626 w 512041"/>
                <a:gd name="connsiteY127" fmla="*/ 328037 h 776474"/>
                <a:gd name="connsiteX128" fmla="*/ 243627 w 512041"/>
                <a:gd name="connsiteY128" fmla="*/ 318512 h 776474"/>
                <a:gd name="connsiteX129" fmla="*/ 252390 w 512041"/>
                <a:gd name="connsiteY129" fmla="*/ 311177 h 776474"/>
                <a:gd name="connsiteX130" fmla="*/ 260677 w 512041"/>
                <a:gd name="connsiteY130" fmla="*/ 304891 h 776474"/>
                <a:gd name="connsiteX131" fmla="*/ 265820 w 512041"/>
                <a:gd name="connsiteY131" fmla="*/ 313368 h 776474"/>
                <a:gd name="connsiteX132" fmla="*/ 271630 w 512041"/>
                <a:gd name="connsiteY132" fmla="*/ 308034 h 776474"/>
                <a:gd name="connsiteX133" fmla="*/ 273345 w 512041"/>
                <a:gd name="connsiteY133" fmla="*/ 306891 h 776474"/>
                <a:gd name="connsiteX134" fmla="*/ 279155 w 512041"/>
                <a:gd name="connsiteY134" fmla="*/ 304986 h 776474"/>
                <a:gd name="connsiteX135" fmla="*/ 292490 w 512041"/>
                <a:gd name="connsiteY135" fmla="*/ 300605 h 776474"/>
                <a:gd name="connsiteX136" fmla="*/ 292490 w 512041"/>
                <a:gd name="connsiteY136" fmla="*/ 300509 h 776474"/>
                <a:gd name="connsiteX137" fmla="*/ 306587 w 512041"/>
                <a:gd name="connsiteY137" fmla="*/ 296795 h 776474"/>
                <a:gd name="connsiteX138" fmla="*/ 290109 w 512041"/>
                <a:gd name="connsiteY138" fmla="*/ 283650 h 776474"/>
                <a:gd name="connsiteX139" fmla="*/ 271249 w 512041"/>
                <a:gd name="connsiteY139" fmla="*/ 268220 h 776474"/>
                <a:gd name="connsiteX140" fmla="*/ 264391 w 512041"/>
                <a:gd name="connsiteY140" fmla="*/ 262505 h 776474"/>
                <a:gd name="connsiteX141" fmla="*/ 256485 w 512041"/>
                <a:gd name="connsiteY141" fmla="*/ 256504 h 776474"/>
                <a:gd name="connsiteX142" fmla="*/ 241817 w 512041"/>
                <a:gd name="connsiteY142" fmla="*/ 238216 h 776474"/>
                <a:gd name="connsiteX143" fmla="*/ 239341 w 512041"/>
                <a:gd name="connsiteY143" fmla="*/ 228881 h 776474"/>
                <a:gd name="connsiteX144" fmla="*/ 237912 w 512041"/>
                <a:gd name="connsiteY144" fmla="*/ 226595 h 776474"/>
                <a:gd name="connsiteX145" fmla="*/ 230673 w 512041"/>
                <a:gd name="connsiteY145" fmla="*/ 218273 h 776474"/>
                <a:gd name="connsiteX146" fmla="*/ 227460 w 512041"/>
                <a:gd name="connsiteY146" fmla="*/ 207822 h 776474"/>
                <a:gd name="connsiteX147" fmla="*/ 227435 w 512041"/>
                <a:gd name="connsiteY147" fmla="*/ 207831 h 776474"/>
                <a:gd name="connsiteX148" fmla="*/ 227435 w 512041"/>
                <a:gd name="connsiteY148" fmla="*/ 207739 h 776474"/>
                <a:gd name="connsiteX149" fmla="*/ 227434 w 512041"/>
                <a:gd name="connsiteY149" fmla="*/ 207736 h 776474"/>
                <a:gd name="connsiteX150" fmla="*/ 225625 w 512041"/>
                <a:gd name="connsiteY150" fmla="*/ 207736 h 776474"/>
                <a:gd name="connsiteX151" fmla="*/ 227149 w 512041"/>
                <a:gd name="connsiteY151" fmla="*/ 202402 h 776474"/>
                <a:gd name="connsiteX152" fmla="*/ 230893 w 512041"/>
                <a:gd name="connsiteY152" fmla="*/ 206520 h 776474"/>
                <a:gd name="connsiteX153" fmla="*/ 230958 w 512041"/>
                <a:gd name="connsiteY153" fmla="*/ 206498 h 776474"/>
                <a:gd name="connsiteX154" fmla="*/ 227148 w 512041"/>
                <a:gd name="connsiteY154" fmla="*/ 202307 h 776474"/>
                <a:gd name="connsiteX155" fmla="*/ 369030 w 512041"/>
                <a:gd name="connsiteY155" fmla="*/ 114657 h 776474"/>
                <a:gd name="connsiteX156" fmla="*/ 369595 w 512041"/>
                <a:gd name="connsiteY156" fmla="*/ 117844 h 776474"/>
                <a:gd name="connsiteX157" fmla="*/ 372426 w 512041"/>
                <a:gd name="connsiteY157" fmla="*/ 120014 h 776474"/>
                <a:gd name="connsiteX158" fmla="*/ 370977 w 512041"/>
                <a:gd name="connsiteY158" fmla="*/ 112010 h 776474"/>
                <a:gd name="connsiteX159" fmla="*/ 370662 w 512041"/>
                <a:gd name="connsiteY159" fmla="*/ 112270 h 776474"/>
                <a:gd name="connsiteX160" fmla="*/ 372693 w 512041"/>
                <a:gd name="connsiteY160" fmla="*/ 120219 h 776474"/>
                <a:gd name="connsiteX161" fmla="*/ 373167 w 512041"/>
                <a:gd name="connsiteY161" fmla="*/ 120582 h 776474"/>
                <a:gd name="connsiteX162" fmla="*/ 370977 w 512041"/>
                <a:gd name="connsiteY162" fmla="*/ 112010 h 776474"/>
                <a:gd name="connsiteX163" fmla="*/ 442402 w 512041"/>
                <a:gd name="connsiteY163" fmla="*/ 19082 h 776474"/>
                <a:gd name="connsiteX164" fmla="*/ 449844 w 512041"/>
                <a:gd name="connsiteY164" fmla="*/ 19427 h 776474"/>
                <a:gd name="connsiteX165" fmla="*/ 450606 w 512041"/>
                <a:gd name="connsiteY165" fmla="*/ 27333 h 776474"/>
                <a:gd name="connsiteX166" fmla="*/ 444129 w 512041"/>
                <a:gd name="connsiteY166" fmla="*/ 67052 h 776474"/>
                <a:gd name="connsiteX167" fmla="*/ 434889 w 512041"/>
                <a:gd name="connsiteY167" fmla="*/ 85530 h 776474"/>
                <a:gd name="connsiteX168" fmla="*/ 417649 w 512041"/>
                <a:gd name="connsiteY168" fmla="*/ 108200 h 776474"/>
                <a:gd name="connsiteX169" fmla="*/ 403552 w 512041"/>
                <a:gd name="connsiteY169" fmla="*/ 116963 h 776474"/>
                <a:gd name="connsiteX170" fmla="*/ 390408 w 512041"/>
                <a:gd name="connsiteY170" fmla="*/ 127440 h 776474"/>
                <a:gd name="connsiteX171" fmla="*/ 369262 w 512041"/>
                <a:gd name="connsiteY171" fmla="*/ 132298 h 776474"/>
                <a:gd name="connsiteX172" fmla="*/ 369548 w 512041"/>
                <a:gd name="connsiteY172" fmla="*/ 132298 h 776474"/>
                <a:gd name="connsiteX173" fmla="*/ 361547 w 512041"/>
                <a:gd name="connsiteY173" fmla="*/ 129536 h 776474"/>
                <a:gd name="connsiteX174" fmla="*/ 366690 w 512041"/>
                <a:gd name="connsiteY174" fmla="*/ 107914 h 776474"/>
                <a:gd name="connsiteX175" fmla="*/ 376406 w 512041"/>
                <a:gd name="connsiteY175" fmla="*/ 96484 h 776474"/>
                <a:gd name="connsiteX176" fmla="*/ 376787 w 512041"/>
                <a:gd name="connsiteY176" fmla="*/ 93531 h 776474"/>
                <a:gd name="connsiteX177" fmla="*/ 376787 w 512041"/>
                <a:gd name="connsiteY177" fmla="*/ 84578 h 776474"/>
                <a:gd name="connsiteX178" fmla="*/ 397075 w 512041"/>
                <a:gd name="connsiteY178" fmla="*/ 53717 h 776474"/>
                <a:gd name="connsiteX179" fmla="*/ 405362 w 512041"/>
                <a:gd name="connsiteY179" fmla="*/ 50193 h 776474"/>
                <a:gd name="connsiteX180" fmla="*/ 410220 w 512041"/>
                <a:gd name="connsiteY180" fmla="*/ 45621 h 776474"/>
                <a:gd name="connsiteX181" fmla="*/ 417363 w 512041"/>
                <a:gd name="connsiteY181" fmla="*/ 41144 h 776474"/>
                <a:gd name="connsiteX182" fmla="*/ 419268 w 512041"/>
                <a:gd name="connsiteY182" fmla="*/ 39239 h 776474"/>
                <a:gd name="connsiteX183" fmla="*/ 435747 w 512041"/>
                <a:gd name="connsiteY183" fmla="*/ 20094 h 776474"/>
                <a:gd name="connsiteX184" fmla="*/ 442402 w 512041"/>
                <a:gd name="connsiteY184" fmla="*/ 19082 h 776474"/>
                <a:gd name="connsiteX185" fmla="*/ 78559 w 512041"/>
                <a:gd name="connsiteY185" fmla="*/ 12568 h 776474"/>
                <a:gd name="connsiteX186" fmla="*/ 84560 w 512041"/>
                <a:gd name="connsiteY186" fmla="*/ 22569 h 776474"/>
                <a:gd name="connsiteX187" fmla="*/ 86465 w 512041"/>
                <a:gd name="connsiteY187" fmla="*/ 26284 h 776474"/>
                <a:gd name="connsiteX188" fmla="*/ 86465 w 512041"/>
                <a:gd name="connsiteY188" fmla="*/ 26570 h 776474"/>
                <a:gd name="connsiteX189" fmla="*/ 86560 w 512041"/>
                <a:gd name="connsiteY189" fmla="*/ 26570 h 776474"/>
                <a:gd name="connsiteX190" fmla="*/ 87036 w 512041"/>
                <a:gd name="connsiteY190" fmla="*/ 36762 h 776474"/>
                <a:gd name="connsiteX191" fmla="*/ 87036 w 512041"/>
                <a:gd name="connsiteY191" fmla="*/ 32672 h 776474"/>
                <a:gd name="connsiteX192" fmla="*/ 86751 w 512041"/>
                <a:gd name="connsiteY192" fmla="*/ 26571 h 776474"/>
                <a:gd name="connsiteX193" fmla="*/ 86751 w 512041"/>
                <a:gd name="connsiteY193" fmla="*/ 26570 h 776474"/>
                <a:gd name="connsiteX194" fmla="*/ 86756 w 512041"/>
                <a:gd name="connsiteY194" fmla="*/ 26577 h 776474"/>
                <a:gd name="connsiteX195" fmla="*/ 86878 w 512041"/>
                <a:gd name="connsiteY195" fmla="*/ 26730 h 776474"/>
                <a:gd name="connsiteX196" fmla="*/ 86774 w 512041"/>
                <a:gd name="connsiteY196" fmla="*/ 26522 h 776474"/>
                <a:gd name="connsiteX197" fmla="*/ 86750 w 512041"/>
                <a:gd name="connsiteY197" fmla="*/ 26570 h 776474"/>
                <a:gd name="connsiteX198" fmla="*/ 86750 w 512041"/>
                <a:gd name="connsiteY198" fmla="*/ 26474 h 776474"/>
                <a:gd name="connsiteX199" fmla="*/ 86655 w 512041"/>
                <a:gd name="connsiteY199" fmla="*/ 26284 h 776474"/>
                <a:gd name="connsiteX200" fmla="*/ 86560 w 512041"/>
                <a:gd name="connsiteY200" fmla="*/ 26284 h 776474"/>
                <a:gd name="connsiteX201" fmla="*/ 87132 w 512041"/>
                <a:gd name="connsiteY201" fmla="*/ 21807 h 776474"/>
                <a:gd name="connsiteX202" fmla="*/ 89989 w 512041"/>
                <a:gd name="connsiteY202" fmla="*/ 23427 h 776474"/>
                <a:gd name="connsiteX203" fmla="*/ 94180 w 512041"/>
                <a:gd name="connsiteY203" fmla="*/ 30761 h 776474"/>
                <a:gd name="connsiteX204" fmla="*/ 112087 w 512041"/>
                <a:gd name="connsiteY204" fmla="*/ 53145 h 776474"/>
                <a:gd name="connsiteX205" fmla="*/ 120564 w 512041"/>
                <a:gd name="connsiteY205" fmla="*/ 66861 h 776474"/>
                <a:gd name="connsiteX206" fmla="*/ 126565 w 512041"/>
                <a:gd name="connsiteY206" fmla="*/ 72385 h 776474"/>
                <a:gd name="connsiteX207" fmla="*/ 124851 w 512041"/>
                <a:gd name="connsiteY207" fmla="*/ 113152 h 776474"/>
                <a:gd name="connsiteX208" fmla="*/ 123422 w 512041"/>
                <a:gd name="connsiteY208" fmla="*/ 119153 h 776474"/>
                <a:gd name="connsiteX209" fmla="*/ 124374 w 512041"/>
                <a:gd name="connsiteY209" fmla="*/ 126582 h 776474"/>
                <a:gd name="connsiteX210" fmla="*/ 111135 w 512041"/>
                <a:gd name="connsiteY210" fmla="*/ 126487 h 776474"/>
                <a:gd name="connsiteX211" fmla="*/ 99895 w 512041"/>
                <a:gd name="connsiteY211" fmla="*/ 118200 h 776474"/>
                <a:gd name="connsiteX212" fmla="*/ 93704 w 512041"/>
                <a:gd name="connsiteY212" fmla="*/ 110676 h 776474"/>
                <a:gd name="connsiteX213" fmla="*/ 93609 w 512041"/>
                <a:gd name="connsiteY213" fmla="*/ 110676 h 776474"/>
                <a:gd name="connsiteX214" fmla="*/ 74273 w 512041"/>
                <a:gd name="connsiteY214" fmla="*/ 88387 h 776474"/>
                <a:gd name="connsiteX215" fmla="*/ 59985 w 512041"/>
                <a:gd name="connsiteY215" fmla="*/ 50478 h 776474"/>
                <a:gd name="connsiteX216" fmla="*/ 68844 w 512041"/>
                <a:gd name="connsiteY216" fmla="*/ 19236 h 776474"/>
                <a:gd name="connsiteX217" fmla="*/ 78559 w 512041"/>
                <a:gd name="connsiteY217" fmla="*/ 12568 h 776474"/>
                <a:gd name="connsiteX218" fmla="*/ 236197 w 512041"/>
                <a:gd name="connsiteY218" fmla="*/ 1043 h 776474"/>
                <a:gd name="connsiteX219" fmla="*/ 251914 w 512041"/>
                <a:gd name="connsiteY219" fmla="*/ 25999 h 776474"/>
                <a:gd name="connsiteX220" fmla="*/ 248199 w 512041"/>
                <a:gd name="connsiteY220" fmla="*/ 28761 h 776474"/>
                <a:gd name="connsiteX221" fmla="*/ 249627 w 512041"/>
                <a:gd name="connsiteY221" fmla="*/ 39239 h 776474"/>
                <a:gd name="connsiteX222" fmla="*/ 252295 w 512041"/>
                <a:gd name="connsiteY222" fmla="*/ 42287 h 776474"/>
                <a:gd name="connsiteX223" fmla="*/ 247151 w 512041"/>
                <a:gd name="connsiteY223" fmla="*/ 45335 h 776474"/>
                <a:gd name="connsiteX224" fmla="*/ 250675 w 512041"/>
                <a:gd name="connsiteY224" fmla="*/ 57050 h 776474"/>
                <a:gd name="connsiteX225" fmla="*/ 255057 w 512041"/>
                <a:gd name="connsiteY225" fmla="*/ 82387 h 776474"/>
                <a:gd name="connsiteX226" fmla="*/ 256771 w 512041"/>
                <a:gd name="connsiteY226" fmla="*/ 93055 h 776474"/>
                <a:gd name="connsiteX227" fmla="*/ 267249 w 512041"/>
                <a:gd name="connsiteY227" fmla="*/ 131345 h 776474"/>
                <a:gd name="connsiteX228" fmla="*/ 269630 w 512041"/>
                <a:gd name="connsiteY228" fmla="*/ 135441 h 776474"/>
                <a:gd name="connsiteX229" fmla="*/ 281250 w 512041"/>
                <a:gd name="connsiteY229" fmla="*/ 156206 h 776474"/>
                <a:gd name="connsiteX230" fmla="*/ 297824 w 512041"/>
                <a:gd name="connsiteY230" fmla="*/ 177446 h 776474"/>
                <a:gd name="connsiteX231" fmla="*/ 316493 w 512041"/>
                <a:gd name="connsiteY231" fmla="*/ 192877 h 776474"/>
                <a:gd name="connsiteX232" fmla="*/ 336019 w 512041"/>
                <a:gd name="connsiteY232" fmla="*/ 206307 h 776474"/>
                <a:gd name="connsiteX233" fmla="*/ 343639 w 512041"/>
                <a:gd name="connsiteY233" fmla="*/ 213546 h 776474"/>
                <a:gd name="connsiteX234" fmla="*/ 345925 w 512041"/>
                <a:gd name="connsiteY234" fmla="*/ 214880 h 776474"/>
                <a:gd name="connsiteX235" fmla="*/ 366214 w 512041"/>
                <a:gd name="connsiteY235" fmla="*/ 220785 h 776474"/>
                <a:gd name="connsiteX236" fmla="*/ 373738 w 512041"/>
                <a:gd name="connsiteY236" fmla="*/ 223071 h 776474"/>
                <a:gd name="connsiteX237" fmla="*/ 384978 w 512041"/>
                <a:gd name="connsiteY237" fmla="*/ 231072 h 776474"/>
                <a:gd name="connsiteX238" fmla="*/ 399170 w 512041"/>
                <a:gd name="connsiteY238" fmla="*/ 235168 h 776474"/>
                <a:gd name="connsiteX239" fmla="*/ 412696 w 512041"/>
                <a:gd name="connsiteY239" fmla="*/ 238787 h 776474"/>
                <a:gd name="connsiteX240" fmla="*/ 425364 w 512041"/>
                <a:gd name="connsiteY240" fmla="*/ 239073 h 776474"/>
                <a:gd name="connsiteX241" fmla="*/ 443175 w 512041"/>
                <a:gd name="connsiteY241" fmla="*/ 243550 h 776474"/>
                <a:gd name="connsiteX242" fmla="*/ 466131 w 512041"/>
                <a:gd name="connsiteY242" fmla="*/ 246693 h 776474"/>
                <a:gd name="connsiteX243" fmla="*/ 484419 w 512041"/>
                <a:gd name="connsiteY243" fmla="*/ 247741 h 776474"/>
                <a:gd name="connsiteX244" fmla="*/ 503278 w 512041"/>
                <a:gd name="connsiteY244" fmla="*/ 268029 h 776474"/>
                <a:gd name="connsiteX245" fmla="*/ 505755 w 512041"/>
                <a:gd name="connsiteY245" fmla="*/ 284603 h 776474"/>
                <a:gd name="connsiteX246" fmla="*/ 512041 w 512041"/>
                <a:gd name="connsiteY246" fmla="*/ 288698 h 776474"/>
                <a:gd name="connsiteX247" fmla="*/ 511851 w 512041"/>
                <a:gd name="connsiteY247" fmla="*/ 288794 h 776474"/>
                <a:gd name="connsiteX248" fmla="*/ 511851 w 512041"/>
                <a:gd name="connsiteY248" fmla="*/ 290699 h 776474"/>
                <a:gd name="connsiteX249" fmla="*/ 509470 w 512041"/>
                <a:gd name="connsiteY249" fmla="*/ 311082 h 776474"/>
                <a:gd name="connsiteX250" fmla="*/ 510898 w 512041"/>
                <a:gd name="connsiteY250" fmla="*/ 315464 h 776474"/>
                <a:gd name="connsiteX251" fmla="*/ 505183 w 512041"/>
                <a:gd name="connsiteY251" fmla="*/ 328322 h 776474"/>
                <a:gd name="connsiteX252" fmla="*/ 505945 w 512041"/>
                <a:gd name="connsiteY252" fmla="*/ 343277 h 776474"/>
                <a:gd name="connsiteX253" fmla="*/ 474798 w 512041"/>
                <a:gd name="connsiteY253" fmla="*/ 366041 h 776474"/>
                <a:gd name="connsiteX254" fmla="*/ 440699 w 512041"/>
                <a:gd name="connsiteY254" fmla="*/ 367946 h 776474"/>
                <a:gd name="connsiteX255" fmla="*/ 423078 w 512041"/>
                <a:gd name="connsiteY255" fmla="*/ 374138 h 776474"/>
                <a:gd name="connsiteX256" fmla="*/ 412124 w 512041"/>
                <a:gd name="connsiteY256" fmla="*/ 374138 h 776474"/>
                <a:gd name="connsiteX257" fmla="*/ 404885 w 512041"/>
                <a:gd name="connsiteY257" fmla="*/ 374995 h 776474"/>
                <a:gd name="connsiteX258" fmla="*/ 365928 w 512041"/>
                <a:gd name="connsiteY258" fmla="*/ 388901 h 776474"/>
                <a:gd name="connsiteX259" fmla="*/ 330114 w 512041"/>
                <a:gd name="connsiteY259" fmla="*/ 395664 h 776474"/>
                <a:gd name="connsiteX260" fmla="*/ 326304 w 512041"/>
                <a:gd name="connsiteY260" fmla="*/ 396045 h 776474"/>
                <a:gd name="connsiteX261" fmla="*/ 300015 w 512041"/>
                <a:gd name="connsiteY261" fmla="*/ 401189 h 776474"/>
                <a:gd name="connsiteX262" fmla="*/ 289442 w 512041"/>
                <a:gd name="connsiteY262" fmla="*/ 401284 h 776474"/>
                <a:gd name="connsiteX263" fmla="*/ 265534 w 512041"/>
                <a:gd name="connsiteY263" fmla="*/ 417667 h 776474"/>
                <a:gd name="connsiteX264" fmla="*/ 262200 w 512041"/>
                <a:gd name="connsiteY264" fmla="*/ 460625 h 776474"/>
                <a:gd name="connsiteX265" fmla="*/ 262772 w 512041"/>
                <a:gd name="connsiteY265" fmla="*/ 481484 h 776474"/>
                <a:gd name="connsiteX266" fmla="*/ 260105 w 512041"/>
                <a:gd name="connsiteY266" fmla="*/ 544445 h 776474"/>
                <a:gd name="connsiteX267" fmla="*/ 253152 w 512041"/>
                <a:gd name="connsiteY267" fmla="*/ 577115 h 776474"/>
                <a:gd name="connsiteX268" fmla="*/ 249627 w 512041"/>
                <a:gd name="connsiteY268" fmla="*/ 620073 h 776474"/>
                <a:gd name="connsiteX269" fmla="*/ 246008 w 512041"/>
                <a:gd name="connsiteY269" fmla="*/ 648553 h 776474"/>
                <a:gd name="connsiteX270" fmla="*/ 244865 w 512041"/>
                <a:gd name="connsiteY270" fmla="*/ 674842 h 776474"/>
                <a:gd name="connsiteX271" fmla="*/ 245056 w 512041"/>
                <a:gd name="connsiteY271" fmla="*/ 714561 h 776474"/>
                <a:gd name="connsiteX272" fmla="*/ 242674 w 512041"/>
                <a:gd name="connsiteY272" fmla="*/ 765425 h 776474"/>
                <a:gd name="connsiteX273" fmla="*/ 234673 w 512041"/>
                <a:gd name="connsiteY273" fmla="*/ 776474 h 776474"/>
                <a:gd name="connsiteX274" fmla="*/ 223339 w 512041"/>
                <a:gd name="connsiteY274" fmla="*/ 776474 h 776474"/>
                <a:gd name="connsiteX275" fmla="*/ 223148 w 512041"/>
                <a:gd name="connsiteY275" fmla="*/ 776474 h 776474"/>
                <a:gd name="connsiteX276" fmla="*/ 213719 w 512041"/>
                <a:gd name="connsiteY276" fmla="*/ 776474 h 776474"/>
                <a:gd name="connsiteX277" fmla="*/ 213528 w 512041"/>
                <a:gd name="connsiteY277" fmla="*/ 776474 h 776474"/>
                <a:gd name="connsiteX278" fmla="*/ 207718 w 512041"/>
                <a:gd name="connsiteY278" fmla="*/ 776474 h 776474"/>
                <a:gd name="connsiteX279" fmla="*/ 196383 w 512041"/>
                <a:gd name="connsiteY279" fmla="*/ 757614 h 776474"/>
                <a:gd name="connsiteX280" fmla="*/ 193144 w 512041"/>
                <a:gd name="connsiteY280" fmla="*/ 750375 h 776474"/>
                <a:gd name="connsiteX281" fmla="*/ 187620 w 512041"/>
                <a:gd name="connsiteY281" fmla="*/ 723419 h 776474"/>
                <a:gd name="connsiteX282" fmla="*/ 185620 w 512041"/>
                <a:gd name="connsiteY282" fmla="*/ 719038 h 776474"/>
                <a:gd name="connsiteX283" fmla="*/ 178857 w 512041"/>
                <a:gd name="connsiteY283" fmla="*/ 663602 h 776474"/>
                <a:gd name="connsiteX284" fmla="*/ 181238 w 512041"/>
                <a:gd name="connsiteY284" fmla="*/ 654744 h 776474"/>
                <a:gd name="connsiteX285" fmla="*/ 180667 w 512041"/>
                <a:gd name="connsiteY285" fmla="*/ 574639 h 776474"/>
                <a:gd name="connsiteX286" fmla="*/ 184286 w 512041"/>
                <a:gd name="connsiteY286" fmla="*/ 558065 h 776474"/>
                <a:gd name="connsiteX287" fmla="*/ 180762 w 512041"/>
                <a:gd name="connsiteY287" fmla="*/ 537110 h 776474"/>
                <a:gd name="connsiteX288" fmla="*/ 179428 w 512041"/>
                <a:gd name="connsiteY288" fmla="*/ 508821 h 776474"/>
                <a:gd name="connsiteX289" fmla="*/ 178095 w 512041"/>
                <a:gd name="connsiteY289" fmla="*/ 487580 h 776474"/>
                <a:gd name="connsiteX290" fmla="*/ 174380 w 512041"/>
                <a:gd name="connsiteY290" fmla="*/ 458624 h 776474"/>
                <a:gd name="connsiteX291" fmla="*/ 170856 w 512041"/>
                <a:gd name="connsiteY291" fmla="*/ 419858 h 776474"/>
                <a:gd name="connsiteX292" fmla="*/ 164760 w 512041"/>
                <a:gd name="connsiteY292" fmla="*/ 397950 h 776474"/>
                <a:gd name="connsiteX293" fmla="*/ 151901 w 512041"/>
                <a:gd name="connsiteY293" fmla="*/ 379853 h 776474"/>
                <a:gd name="connsiteX294" fmla="*/ 144091 w 512041"/>
                <a:gd name="connsiteY294" fmla="*/ 371661 h 776474"/>
                <a:gd name="connsiteX295" fmla="*/ 110848 w 512041"/>
                <a:gd name="connsiteY295" fmla="*/ 364327 h 776474"/>
                <a:gd name="connsiteX296" fmla="*/ 86941 w 512041"/>
                <a:gd name="connsiteY296" fmla="*/ 364041 h 776474"/>
                <a:gd name="connsiteX297" fmla="*/ 74272 w 512041"/>
                <a:gd name="connsiteY297" fmla="*/ 361565 h 776474"/>
                <a:gd name="connsiteX298" fmla="*/ 59032 w 512041"/>
                <a:gd name="connsiteY298" fmla="*/ 360803 h 776474"/>
                <a:gd name="connsiteX299" fmla="*/ 41792 w 512041"/>
                <a:gd name="connsiteY299" fmla="*/ 361184 h 776474"/>
                <a:gd name="connsiteX300" fmla="*/ 38649 w 512041"/>
                <a:gd name="connsiteY300" fmla="*/ 361374 h 776474"/>
                <a:gd name="connsiteX301" fmla="*/ 32362 w 512041"/>
                <a:gd name="connsiteY301" fmla="*/ 361946 h 776474"/>
                <a:gd name="connsiteX302" fmla="*/ 19408 w 512041"/>
                <a:gd name="connsiteY302" fmla="*/ 361374 h 776474"/>
                <a:gd name="connsiteX303" fmla="*/ 930 w 512041"/>
                <a:gd name="connsiteY303" fmla="*/ 347563 h 776474"/>
                <a:gd name="connsiteX304" fmla="*/ 1501 w 512041"/>
                <a:gd name="connsiteY304" fmla="*/ 329465 h 776474"/>
                <a:gd name="connsiteX305" fmla="*/ 7216 w 512041"/>
                <a:gd name="connsiteY305" fmla="*/ 322417 h 776474"/>
                <a:gd name="connsiteX306" fmla="*/ 8740 w 512041"/>
                <a:gd name="connsiteY306" fmla="*/ 320417 h 776474"/>
                <a:gd name="connsiteX307" fmla="*/ 14836 w 512041"/>
                <a:gd name="connsiteY307" fmla="*/ 311844 h 776474"/>
                <a:gd name="connsiteX308" fmla="*/ 7216 w 512041"/>
                <a:gd name="connsiteY308" fmla="*/ 296509 h 776474"/>
                <a:gd name="connsiteX309" fmla="*/ 15408 w 512041"/>
                <a:gd name="connsiteY309" fmla="*/ 280126 h 776474"/>
                <a:gd name="connsiteX310" fmla="*/ 30743 w 512041"/>
                <a:gd name="connsiteY310" fmla="*/ 274316 h 776474"/>
                <a:gd name="connsiteX311" fmla="*/ 48460 w 512041"/>
                <a:gd name="connsiteY311" fmla="*/ 269839 h 776474"/>
                <a:gd name="connsiteX312" fmla="*/ 58556 w 512041"/>
                <a:gd name="connsiteY312" fmla="*/ 274887 h 776474"/>
                <a:gd name="connsiteX313" fmla="*/ 60937 w 512041"/>
                <a:gd name="connsiteY313" fmla="*/ 274030 h 776474"/>
                <a:gd name="connsiteX314" fmla="*/ 70558 w 512041"/>
                <a:gd name="connsiteY314" fmla="*/ 268410 h 776474"/>
                <a:gd name="connsiteX315" fmla="*/ 78749 w 512041"/>
                <a:gd name="connsiteY315" fmla="*/ 265362 h 776474"/>
                <a:gd name="connsiteX316" fmla="*/ 106086 w 512041"/>
                <a:gd name="connsiteY316" fmla="*/ 257361 h 776474"/>
                <a:gd name="connsiteX317" fmla="*/ 124564 w 512041"/>
                <a:gd name="connsiteY317" fmla="*/ 253075 h 776474"/>
                <a:gd name="connsiteX318" fmla="*/ 137233 w 512041"/>
                <a:gd name="connsiteY318" fmla="*/ 243836 h 776474"/>
                <a:gd name="connsiteX319" fmla="*/ 169332 w 512041"/>
                <a:gd name="connsiteY319" fmla="*/ 232310 h 776474"/>
                <a:gd name="connsiteX320" fmla="*/ 173999 w 512041"/>
                <a:gd name="connsiteY320" fmla="*/ 226976 h 776474"/>
                <a:gd name="connsiteX321" fmla="*/ 183905 w 512041"/>
                <a:gd name="connsiteY321" fmla="*/ 222595 h 776474"/>
                <a:gd name="connsiteX322" fmla="*/ 186191 w 512041"/>
                <a:gd name="connsiteY322" fmla="*/ 221833 h 776474"/>
                <a:gd name="connsiteX323" fmla="*/ 204955 w 512041"/>
                <a:gd name="connsiteY323" fmla="*/ 177351 h 776474"/>
                <a:gd name="connsiteX324" fmla="*/ 208003 w 512041"/>
                <a:gd name="connsiteY324" fmla="*/ 105056 h 776474"/>
                <a:gd name="connsiteX325" fmla="*/ 203241 w 512041"/>
                <a:gd name="connsiteY325" fmla="*/ 70766 h 776474"/>
                <a:gd name="connsiteX326" fmla="*/ 207813 w 512041"/>
                <a:gd name="connsiteY326" fmla="*/ 52669 h 776474"/>
                <a:gd name="connsiteX327" fmla="*/ 210194 w 512041"/>
                <a:gd name="connsiteY327" fmla="*/ 39905 h 776474"/>
                <a:gd name="connsiteX328" fmla="*/ 227720 w 512041"/>
                <a:gd name="connsiteY328" fmla="*/ 2567 h 776474"/>
                <a:gd name="connsiteX329" fmla="*/ 236197 w 512041"/>
                <a:gd name="connsiteY329" fmla="*/ 1043 h 77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</a:cxnLst>
              <a:rect l="l" t="t" r="r" b="b"/>
              <a:pathLst>
                <a:path w="512041" h="776474">
                  <a:moveTo>
                    <a:pt x="468035" y="583116"/>
                  </a:moveTo>
                  <a:lnTo>
                    <a:pt x="467945" y="583143"/>
                  </a:lnTo>
                  <a:lnTo>
                    <a:pt x="468894" y="588831"/>
                  </a:lnTo>
                  <a:lnTo>
                    <a:pt x="467101" y="585493"/>
                  </a:lnTo>
                  <a:lnTo>
                    <a:pt x="468893" y="588831"/>
                  </a:lnTo>
                  <a:lnTo>
                    <a:pt x="468894" y="588831"/>
                  </a:lnTo>
                  <a:lnTo>
                    <a:pt x="468988" y="588831"/>
                  </a:lnTo>
                  <a:cubicBezTo>
                    <a:pt x="470322" y="586640"/>
                    <a:pt x="470036" y="584735"/>
                    <a:pt x="468035" y="583116"/>
                  </a:cubicBezTo>
                  <a:close/>
                  <a:moveTo>
                    <a:pt x="457368" y="573019"/>
                  </a:moveTo>
                  <a:cubicBezTo>
                    <a:pt x="455748" y="576924"/>
                    <a:pt x="450224" y="571019"/>
                    <a:pt x="449843" y="576162"/>
                  </a:cubicBezTo>
                  <a:lnTo>
                    <a:pt x="449844" y="576163"/>
                  </a:lnTo>
                  <a:lnTo>
                    <a:pt x="453142" y="574128"/>
                  </a:lnTo>
                  <a:lnTo>
                    <a:pt x="457368" y="573020"/>
                  </a:lnTo>
                  <a:close/>
                  <a:moveTo>
                    <a:pt x="251628" y="544349"/>
                  </a:moveTo>
                  <a:cubicBezTo>
                    <a:pt x="249056" y="546350"/>
                    <a:pt x="250580" y="549207"/>
                    <a:pt x="250675" y="552255"/>
                  </a:cubicBezTo>
                  <a:lnTo>
                    <a:pt x="250676" y="552253"/>
                  </a:lnTo>
                  <a:close/>
                  <a:moveTo>
                    <a:pt x="50174" y="541301"/>
                  </a:moveTo>
                  <a:cubicBezTo>
                    <a:pt x="57032" y="541968"/>
                    <a:pt x="49983" y="545397"/>
                    <a:pt x="51222" y="547111"/>
                  </a:cubicBezTo>
                  <a:cubicBezTo>
                    <a:pt x="49317" y="545397"/>
                    <a:pt x="50460" y="543206"/>
                    <a:pt x="50174" y="541301"/>
                  </a:cubicBezTo>
                  <a:close/>
                  <a:moveTo>
                    <a:pt x="447843" y="531204"/>
                  </a:moveTo>
                  <a:cubicBezTo>
                    <a:pt x="446509" y="534062"/>
                    <a:pt x="446033" y="536157"/>
                    <a:pt x="447843" y="538443"/>
                  </a:cubicBezTo>
                  <a:lnTo>
                    <a:pt x="447938" y="538090"/>
                  </a:lnTo>
                  <a:lnTo>
                    <a:pt x="447938" y="531653"/>
                  </a:lnTo>
                  <a:close/>
                  <a:moveTo>
                    <a:pt x="373738" y="497391"/>
                  </a:moveTo>
                  <a:cubicBezTo>
                    <a:pt x="372119" y="497010"/>
                    <a:pt x="371547" y="498248"/>
                    <a:pt x="371547" y="499581"/>
                  </a:cubicBezTo>
                  <a:cubicBezTo>
                    <a:pt x="371547" y="500343"/>
                    <a:pt x="372024" y="501201"/>
                    <a:pt x="372404" y="502534"/>
                  </a:cubicBezTo>
                  <a:lnTo>
                    <a:pt x="372404" y="502629"/>
                  </a:lnTo>
                  <a:cubicBezTo>
                    <a:pt x="373548" y="501296"/>
                    <a:pt x="374500" y="500439"/>
                    <a:pt x="374976" y="499391"/>
                  </a:cubicBezTo>
                  <a:lnTo>
                    <a:pt x="374952" y="499351"/>
                  </a:lnTo>
                  <a:lnTo>
                    <a:pt x="372500" y="502439"/>
                  </a:lnTo>
                  <a:cubicBezTo>
                    <a:pt x="372024" y="501105"/>
                    <a:pt x="371643" y="500343"/>
                    <a:pt x="371643" y="499486"/>
                  </a:cubicBezTo>
                  <a:lnTo>
                    <a:pt x="373738" y="497391"/>
                  </a:lnTo>
                  <a:close/>
                  <a:moveTo>
                    <a:pt x="359260" y="480341"/>
                  </a:moveTo>
                  <a:cubicBezTo>
                    <a:pt x="358879" y="480150"/>
                    <a:pt x="357164" y="481103"/>
                    <a:pt x="357164" y="481674"/>
                  </a:cubicBezTo>
                  <a:cubicBezTo>
                    <a:pt x="356783" y="484532"/>
                    <a:pt x="359070" y="485389"/>
                    <a:pt x="361070" y="486532"/>
                  </a:cubicBezTo>
                  <a:lnTo>
                    <a:pt x="361165" y="486532"/>
                  </a:lnTo>
                  <a:cubicBezTo>
                    <a:pt x="359165" y="485485"/>
                    <a:pt x="356879" y="484532"/>
                    <a:pt x="357260" y="481675"/>
                  </a:cubicBezTo>
                  <a:lnTo>
                    <a:pt x="359276" y="480391"/>
                  </a:lnTo>
                  <a:close/>
                  <a:moveTo>
                    <a:pt x="351354" y="471959"/>
                  </a:moveTo>
                  <a:cubicBezTo>
                    <a:pt x="350116" y="472054"/>
                    <a:pt x="348592" y="471864"/>
                    <a:pt x="348592" y="473769"/>
                  </a:cubicBezTo>
                  <a:cubicBezTo>
                    <a:pt x="348687" y="475483"/>
                    <a:pt x="349830" y="476817"/>
                    <a:pt x="351450" y="476817"/>
                  </a:cubicBezTo>
                  <a:lnTo>
                    <a:pt x="351578" y="476750"/>
                  </a:lnTo>
                  <a:lnTo>
                    <a:pt x="348783" y="473769"/>
                  </a:lnTo>
                  <a:lnTo>
                    <a:pt x="351413" y="472045"/>
                  </a:lnTo>
                  <a:close/>
                  <a:moveTo>
                    <a:pt x="76273" y="434145"/>
                  </a:moveTo>
                  <a:cubicBezTo>
                    <a:pt x="79225" y="438431"/>
                    <a:pt x="88655" y="436907"/>
                    <a:pt x="87131" y="444242"/>
                  </a:cubicBezTo>
                  <a:lnTo>
                    <a:pt x="87417" y="444242"/>
                  </a:lnTo>
                  <a:cubicBezTo>
                    <a:pt x="85988" y="451290"/>
                    <a:pt x="94656" y="456910"/>
                    <a:pt x="87703" y="465482"/>
                  </a:cubicBezTo>
                  <a:cubicBezTo>
                    <a:pt x="83035" y="471102"/>
                    <a:pt x="82940" y="481198"/>
                    <a:pt x="80559" y="489199"/>
                  </a:cubicBezTo>
                  <a:cubicBezTo>
                    <a:pt x="79511" y="492438"/>
                    <a:pt x="83988" y="497677"/>
                    <a:pt x="76273" y="497772"/>
                  </a:cubicBezTo>
                  <a:cubicBezTo>
                    <a:pt x="75511" y="497772"/>
                    <a:pt x="75796" y="499487"/>
                    <a:pt x="76844" y="500629"/>
                  </a:cubicBezTo>
                  <a:cubicBezTo>
                    <a:pt x="80464" y="504725"/>
                    <a:pt x="80273" y="507297"/>
                    <a:pt x="73891" y="507488"/>
                  </a:cubicBezTo>
                  <a:cubicBezTo>
                    <a:pt x="72463" y="507583"/>
                    <a:pt x="71320" y="509393"/>
                    <a:pt x="71510" y="511202"/>
                  </a:cubicBezTo>
                  <a:cubicBezTo>
                    <a:pt x="72177" y="517679"/>
                    <a:pt x="65224" y="519870"/>
                    <a:pt x="63033" y="525299"/>
                  </a:cubicBezTo>
                  <a:cubicBezTo>
                    <a:pt x="60842" y="530538"/>
                    <a:pt x="56080" y="537110"/>
                    <a:pt x="50269" y="541206"/>
                  </a:cubicBezTo>
                  <a:cubicBezTo>
                    <a:pt x="49984" y="541301"/>
                    <a:pt x="49412" y="541492"/>
                    <a:pt x="49412" y="541587"/>
                  </a:cubicBezTo>
                  <a:cubicBezTo>
                    <a:pt x="49888" y="554922"/>
                    <a:pt x="39316" y="561494"/>
                    <a:pt x="32267" y="570257"/>
                  </a:cubicBezTo>
                  <a:cubicBezTo>
                    <a:pt x="31315" y="571496"/>
                    <a:pt x="29124" y="572734"/>
                    <a:pt x="29314" y="573686"/>
                  </a:cubicBezTo>
                  <a:cubicBezTo>
                    <a:pt x="30648" y="581687"/>
                    <a:pt x="24838" y="579497"/>
                    <a:pt x="21028" y="579497"/>
                  </a:cubicBezTo>
                  <a:cubicBezTo>
                    <a:pt x="14360" y="579687"/>
                    <a:pt x="11503" y="575591"/>
                    <a:pt x="9979" y="569400"/>
                  </a:cubicBezTo>
                  <a:cubicBezTo>
                    <a:pt x="8169" y="561971"/>
                    <a:pt x="11979" y="555303"/>
                    <a:pt x="11979" y="548064"/>
                  </a:cubicBezTo>
                  <a:cubicBezTo>
                    <a:pt x="12074" y="538634"/>
                    <a:pt x="11693" y="528252"/>
                    <a:pt x="15408" y="520061"/>
                  </a:cubicBezTo>
                  <a:cubicBezTo>
                    <a:pt x="19599" y="510726"/>
                    <a:pt x="21885" y="500629"/>
                    <a:pt x="26933" y="491581"/>
                  </a:cubicBezTo>
                  <a:cubicBezTo>
                    <a:pt x="29981" y="486151"/>
                    <a:pt x="34172" y="479103"/>
                    <a:pt x="37506" y="476626"/>
                  </a:cubicBezTo>
                  <a:cubicBezTo>
                    <a:pt x="46459" y="469864"/>
                    <a:pt x="45221" y="455672"/>
                    <a:pt x="54651" y="452623"/>
                  </a:cubicBezTo>
                  <a:cubicBezTo>
                    <a:pt x="61985" y="450338"/>
                    <a:pt x="61890" y="444337"/>
                    <a:pt x="65890" y="441479"/>
                  </a:cubicBezTo>
                  <a:cubicBezTo>
                    <a:pt x="69319" y="439098"/>
                    <a:pt x="73891" y="438241"/>
                    <a:pt x="76273" y="434145"/>
                  </a:cubicBezTo>
                  <a:close/>
                  <a:moveTo>
                    <a:pt x="337484" y="428358"/>
                  </a:moveTo>
                  <a:cubicBezTo>
                    <a:pt x="338639" y="428048"/>
                    <a:pt x="339782" y="428810"/>
                    <a:pt x="340591" y="431668"/>
                  </a:cubicBezTo>
                  <a:cubicBezTo>
                    <a:pt x="342496" y="438526"/>
                    <a:pt x="345163" y="437955"/>
                    <a:pt x="348687" y="432906"/>
                  </a:cubicBezTo>
                  <a:cubicBezTo>
                    <a:pt x="349068" y="432430"/>
                    <a:pt x="350021" y="431859"/>
                    <a:pt x="350021" y="431859"/>
                  </a:cubicBezTo>
                  <a:cubicBezTo>
                    <a:pt x="353831" y="435954"/>
                    <a:pt x="361737" y="434335"/>
                    <a:pt x="363260" y="440431"/>
                  </a:cubicBezTo>
                  <a:cubicBezTo>
                    <a:pt x="364308" y="444908"/>
                    <a:pt x="367071" y="446622"/>
                    <a:pt x="370214" y="448623"/>
                  </a:cubicBezTo>
                  <a:cubicBezTo>
                    <a:pt x="375548" y="452052"/>
                    <a:pt x="380977" y="455385"/>
                    <a:pt x="381453" y="462720"/>
                  </a:cubicBezTo>
                  <a:cubicBezTo>
                    <a:pt x="381453" y="463672"/>
                    <a:pt x="382787" y="465387"/>
                    <a:pt x="383739" y="465482"/>
                  </a:cubicBezTo>
                  <a:cubicBezTo>
                    <a:pt x="398027" y="467292"/>
                    <a:pt x="399265" y="483865"/>
                    <a:pt x="410600" y="489009"/>
                  </a:cubicBezTo>
                  <a:cubicBezTo>
                    <a:pt x="413362" y="490247"/>
                    <a:pt x="413172" y="493771"/>
                    <a:pt x="414314" y="496248"/>
                  </a:cubicBezTo>
                  <a:cubicBezTo>
                    <a:pt x="415553" y="498819"/>
                    <a:pt x="414124" y="507011"/>
                    <a:pt x="422220" y="502058"/>
                  </a:cubicBezTo>
                  <a:cubicBezTo>
                    <a:pt x="425078" y="500248"/>
                    <a:pt x="426316" y="505677"/>
                    <a:pt x="428602" y="507487"/>
                  </a:cubicBezTo>
                  <a:cubicBezTo>
                    <a:pt x="437651" y="514440"/>
                    <a:pt x="447366" y="520632"/>
                    <a:pt x="454796" y="529395"/>
                  </a:cubicBezTo>
                  <a:cubicBezTo>
                    <a:pt x="456415" y="531300"/>
                    <a:pt x="458225" y="533300"/>
                    <a:pt x="458987" y="535586"/>
                  </a:cubicBezTo>
                  <a:cubicBezTo>
                    <a:pt x="460320" y="539682"/>
                    <a:pt x="459939" y="545111"/>
                    <a:pt x="466893" y="542730"/>
                  </a:cubicBezTo>
                  <a:lnTo>
                    <a:pt x="466797" y="542730"/>
                  </a:lnTo>
                  <a:cubicBezTo>
                    <a:pt x="468035" y="542349"/>
                    <a:pt x="469083" y="541872"/>
                    <a:pt x="469560" y="543777"/>
                  </a:cubicBezTo>
                  <a:cubicBezTo>
                    <a:pt x="472608" y="556636"/>
                    <a:pt x="475846" y="569495"/>
                    <a:pt x="478989" y="582354"/>
                  </a:cubicBezTo>
                  <a:cubicBezTo>
                    <a:pt x="478132" y="588545"/>
                    <a:pt x="477370" y="594736"/>
                    <a:pt x="476227" y="600832"/>
                  </a:cubicBezTo>
                  <a:cubicBezTo>
                    <a:pt x="476037" y="601594"/>
                    <a:pt x="474036" y="602928"/>
                    <a:pt x="473274" y="602642"/>
                  </a:cubicBezTo>
                  <a:cubicBezTo>
                    <a:pt x="464321" y="599403"/>
                    <a:pt x="454415" y="600642"/>
                    <a:pt x="445461" y="596070"/>
                  </a:cubicBezTo>
                  <a:cubicBezTo>
                    <a:pt x="441842" y="594260"/>
                    <a:pt x="436031" y="594165"/>
                    <a:pt x="433269" y="591117"/>
                  </a:cubicBezTo>
                  <a:cubicBezTo>
                    <a:pt x="428507" y="585783"/>
                    <a:pt x="419363" y="585687"/>
                    <a:pt x="417362" y="577305"/>
                  </a:cubicBezTo>
                  <a:cubicBezTo>
                    <a:pt x="417077" y="576258"/>
                    <a:pt x="415077" y="574638"/>
                    <a:pt x="414886" y="574734"/>
                  </a:cubicBezTo>
                  <a:cubicBezTo>
                    <a:pt x="406218" y="580639"/>
                    <a:pt x="407837" y="571114"/>
                    <a:pt x="405171" y="568257"/>
                  </a:cubicBezTo>
                  <a:cubicBezTo>
                    <a:pt x="400503" y="563208"/>
                    <a:pt x="394979" y="559208"/>
                    <a:pt x="390121" y="554350"/>
                  </a:cubicBezTo>
                  <a:cubicBezTo>
                    <a:pt x="386216" y="550445"/>
                    <a:pt x="380501" y="547397"/>
                    <a:pt x="378215" y="542634"/>
                  </a:cubicBezTo>
                  <a:cubicBezTo>
                    <a:pt x="372500" y="530728"/>
                    <a:pt x="363451" y="521489"/>
                    <a:pt x="355545" y="511297"/>
                  </a:cubicBezTo>
                  <a:cubicBezTo>
                    <a:pt x="350211" y="504439"/>
                    <a:pt x="342877" y="499296"/>
                    <a:pt x="337924" y="491390"/>
                  </a:cubicBezTo>
                  <a:cubicBezTo>
                    <a:pt x="334019" y="485199"/>
                    <a:pt x="333257" y="478055"/>
                    <a:pt x="329447" y="472054"/>
                  </a:cubicBezTo>
                  <a:cubicBezTo>
                    <a:pt x="328685" y="470911"/>
                    <a:pt x="328875" y="468720"/>
                    <a:pt x="331066" y="468244"/>
                  </a:cubicBezTo>
                  <a:cubicBezTo>
                    <a:pt x="336210" y="467196"/>
                    <a:pt x="334019" y="466625"/>
                    <a:pt x="330971" y="465958"/>
                  </a:cubicBezTo>
                  <a:cubicBezTo>
                    <a:pt x="329352" y="465577"/>
                    <a:pt x="328875" y="464244"/>
                    <a:pt x="329733" y="463101"/>
                  </a:cubicBezTo>
                  <a:cubicBezTo>
                    <a:pt x="335352" y="455862"/>
                    <a:pt x="330399" y="447861"/>
                    <a:pt x="331542" y="440336"/>
                  </a:cubicBezTo>
                  <a:cubicBezTo>
                    <a:pt x="332018" y="437288"/>
                    <a:pt x="332781" y="434049"/>
                    <a:pt x="334304" y="431478"/>
                  </a:cubicBezTo>
                  <a:cubicBezTo>
                    <a:pt x="335162" y="430049"/>
                    <a:pt x="336329" y="428667"/>
                    <a:pt x="337484" y="428358"/>
                  </a:cubicBezTo>
                  <a:close/>
                  <a:moveTo>
                    <a:pt x="307445" y="252503"/>
                  </a:moveTo>
                  <a:lnTo>
                    <a:pt x="307540" y="252503"/>
                  </a:lnTo>
                  <a:lnTo>
                    <a:pt x="307505" y="252555"/>
                  </a:lnTo>
                  <a:close/>
                  <a:moveTo>
                    <a:pt x="307444" y="252218"/>
                  </a:moveTo>
                  <a:cubicBezTo>
                    <a:pt x="306873" y="252408"/>
                    <a:pt x="306492" y="253551"/>
                    <a:pt x="305920" y="254599"/>
                  </a:cubicBezTo>
                  <a:lnTo>
                    <a:pt x="306068" y="254711"/>
                  </a:lnTo>
                  <a:lnTo>
                    <a:pt x="307505" y="252555"/>
                  </a:lnTo>
                  <a:lnTo>
                    <a:pt x="309672" y="254452"/>
                  </a:lnTo>
                  <a:lnTo>
                    <a:pt x="309730" y="254218"/>
                  </a:lnTo>
                  <a:cubicBezTo>
                    <a:pt x="309825" y="252789"/>
                    <a:pt x="308873" y="251837"/>
                    <a:pt x="307444" y="252218"/>
                  </a:cubicBezTo>
                  <a:close/>
                  <a:moveTo>
                    <a:pt x="227148" y="202307"/>
                  </a:moveTo>
                  <a:cubicBezTo>
                    <a:pt x="224005" y="202783"/>
                    <a:pt x="225625" y="205640"/>
                    <a:pt x="225625" y="207641"/>
                  </a:cubicBezTo>
                  <a:cubicBezTo>
                    <a:pt x="222291" y="220404"/>
                    <a:pt x="219433" y="233453"/>
                    <a:pt x="215528" y="246122"/>
                  </a:cubicBezTo>
                  <a:cubicBezTo>
                    <a:pt x="212766" y="255170"/>
                    <a:pt x="212194" y="264981"/>
                    <a:pt x="206860" y="272982"/>
                  </a:cubicBezTo>
                  <a:cubicBezTo>
                    <a:pt x="203146" y="278602"/>
                    <a:pt x="200955" y="284698"/>
                    <a:pt x="198383" y="290699"/>
                  </a:cubicBezTo>
                  <a:cubicBezTo>
                    <a:pt x="197812" y="292032"/>
                    <a:pt x="198193" y="294509"/>
                    <a:pt x="196192" y="294128"/>
                  </a:cubicBezTo>
                  <a:cubicBezTo>
                    <a:pt x="187048" y="292223"/>
                    <a:pt x="189048" y="303653"/>
                    <a:pt x="182667" y="305367"/>
                  </a:cubicBezTo>
                  <a:cubicBezTo>
                    <a:pt x="180857" y="305939"/>
                    <a:pt x="181619" y="309082"/>
                    <a:pt x="182667" y="311844"/>
                  </a:cubicBezTo>
                  <a:cubicBezTo>
                    <a:pt x="184762" y="317273"/>
                    <a:pt x="190763" y="319559"/>
                    <a:pt x="192382" y="324131"/>
                  </a:cubicBezTo>
                  <a:cubicBezTo>
                    <a:pt x="197050" y="337181"/>
                    <a:pt x="201812" y="350420"/>
                    <a:pt x="204003" y="363946"/>
                  </a:cubicBezTo>
                  <a:cubicBezTo>
                    <a:pt x="208003" y="388425"/>
                    <a:pt x="208479" y="413476"/>
                    <a:pt x="215528" y="439384"/>
                  </a:cubicBezTo>
                  <a:cubicBezTo>
                    <a:pt x="217909" y="428525"/>
                    <a:pt x="220291" y="419000"/>
                    <a:pt x="222100" y="409475"/>
                  </a:cubicBezTo>
                  <a:cubicBezTo>
                    <a:pt x="223434" y="402713"/>
                    <a:pt x="225529" y="395759"/>
                    <a:pt x="221148" y="389282"/>
                  </a:cubicBezTo>
                  <a:cubicBezTo>
                    <a:pt x="233816" y="383567"/>
                    <a:pt x="216385" y="368899"/>
                    <a:pt x="228958" y="363184"/>
                  </a:cubicBezTo>
                  <a:cubicBezTo>
                    <a:pt x="226958" y="349754"/>
                    <a:pt x="232673" y="338609"/>
                    <a:pt x="239626" y="328037"/>
                  </a:cubicBezTo>
                  <a:cubicBezTo>
                    <a:pt x="241627" y="324989"/>
                    <a:pt x="243627" y="320798"/>
                    <a:pt x="243627" y="318512"/>
                  </a:cubicBezTo>
                  <a:cubicBezTo>
                    <a:pt x="243627" y="311463"/>
                    <a:pt x="248008" y="310606"/>
                    <a:pt x="252390" y="311177"/>
                  </a:cubicBezTo>
                  <a:cubicBezTo>
                    <a:pt x="258010" y="311939"/>
                    <a:pt x="260581" y="310130"/>
                    <a:pt x="260677" y="304891"/>
                  </a:cubicBezTo>
                  <a:cubicBezTo>
                    <a:pt x="265248" y="305843"/>
                    <a:pt x="262486" y="311082"/>
                    <a:pt x="265820" y="313368"/>
                  </a:cubicBezTo>
                  <a:cubicBezTo>
                    <a:pt x="266011" y="304700"/>
                    <a:pt x="266106" y="304510"/>
                    <a:pt x="271630" y="308034"/>
                  </a:cubicBezTo>
                  <a:cubicBezTo>
                    <a:pt x="273821" y="309463"/>
                    <a:pt x="273345" y="307463"/>
                    <a:pt x="273345" y="306891"/>
                  </a:cubicBezTo>
                  <a:cubicBezTo>
                    <a:pt x="273726" y="301367"/>
                    <a:pt x="277536" y="303462"/>
                    <a:pt x="279155" y="304986"/>
                  </a:cubicBezTo>
                  <a:cubicBezTo>
                    <a:pt x="285823" y="311177"/>
                    <a:pt x="287346" y="301081"/>
                    <a:pt x="292490" y="300605"/>
                  </a:cubicBezTo>
                  <a:lnTo>
                    <a:pt x="292490" y="300509"/>
                  </a:lnTo>
                  <a:cubicBezTo>
                    <a:pt x="296110" y="300128"/>
                    <a:pt x="301063" y="297080"/>
                    <a:pt x="306587" y="296795"/>
                  </a:cubicBezTo>
                  <a:cubicBezTo>
                    <a:pt x="302587" y="289460"/>
                    <a:pt x="295633" y="287555"/>
                    <a:pt x="290109" y="283650"/>
                  </a:cubicBezTo>
                  <a:cubicBezTo>
                    <a:pt x="283632" y="278983"/>
                    <a:pt x="278774" y="272030"/>
                    <a:pt x="271249" y="268220"/>
                  </a:cubicBezTo>
                  <a:cubicBezTo>
                    <a:pt x="268773" y="266981"/>
                    <a:pt x="269440" y="261171"/>
                    <a:pt x="264391" y="262505"/>
                  </a:cubicBezTo>
                  <a:cubicBezTo>
                    <a:pt x="264391" y="257075"/>
                    <a:pt x="257629" y="260314"/>
                    <a:pt x="256485" y="256504"/>
                  </a:cubicBezTo>
                  <a:cubicBezTo>
                    <a:pt x="254009" y="248408"/>
                    <a:pt x="244484" y="246217"/>
                    <a:pt x="241817" y="238216"/>
                  </a:cubicBezTo>
                  <a:cubicBezTo>
                    <a:pt x="240769" y="235168"/>
                    <a:pt x="231625" y="234596"/>
                    <a:pt x="239341" y="228881"/>
                  </a:cubicBezTo>
                  <a:cubicBezTo>
                    <a:pt x="240864" y="227738"/>
                    <a:pt x="238960" y="227167"/>
                    <a:pt x="237912" y="226595"/>
                  </a:cubicBezTo>
                  <a:cubicBezTo>
                    <a:pt x="233959" y="224690"/>
                    <a:pt x="231983" y="221666"/>
                    <a:pt x="230673" y="218273"/>
                  </a:cubicBezTo>
                  <a:lnTo>
                    <a:pt x="227460" y="207822"/>
                  </a:lnTo>
                  <a:lnTo>
                    <a:pt x="227435" y="207831"/>
                  </a:lnTo>
                  <a:lnTo>
                    <a:pt x="227435" y="207739"/>
                  </a:lnTo>
                  <a:lnTo>
                    <a:pt x="227434" y="207736"/>
                  </a:lnTo>
                  <a:lnTo>
                    <a:pt x="225625" y="207736"/>
                  </a:lnTo>
                  <a:cubicBezTo>
                    <a:pt x="225625" y="205736"/>
                    <a:pt x="224006" y="202878"/>
                    <a:pt x="227149" y="202402"/>
                  </a:cubicBezTo>
                  <a:lnTo>
                    <a:pt x="230893" y="206520"/>
                  </a:lnTo>
                  <a:lnTo>
                    <a:pt x="230958" y="206498"/>
                  </a:lnTo>
                  <a:cubicBezTo>
                    <a:pt x="230958" y="204021"/>
                    <a:pt x="229435" y="201926"/>
                    <a:pt x="227148" y="202307"/>
                  </a:cubicBezTo>
                  <a:close/>
                  <a:moveTo>
                    <a:pt x="369030" y="114657"/>
                  </a:moveTo>
                  <a:lnTo>
                    <a:pt x="369595" y="117844"/>
                  </a:lnTo>
                  <a:lnTo>
                    <a:pt x="372426" y="120014"/>
                  </a:lnTo>
                  <a:close/>
                  <a:moveTo>
                    <a:pt x="370977" y="112010"/>
                  </a:moveTo>
                  <a:lnTo>
                    <a:pt x="370662" y="112270"/>
                  </a:lnTo>
                  <a:lnTo>
                    <a:pt x="372693" y="120219"/>
                  </a:lnTo>
                  <a:lnTo>
                    <a:pt x="373167" y="120582"/>
                  </a:lnTo>
                  <a:cubicBezTo>
                    <a:pt x="374691" y="116391"/>
                    <a:pt x="372215" y="114391"/>
                    <a:pt x="370977" y="112010"/>
                  </a:cubicBezTo>
                  <a:close/>
                  <a:moveTo>
                    <a:pt x="442402" y="19082"/>
                  </a:moveTo>
                  <a:cubicBezTo>
                    <a:pt x="444867" y="19784"/>
                    <a:pt x="447462" y="20713"/>
                    <a:pt x="449844" y="19427"/>
                  </a:cubicBezTo>
                  <a:cubicBezTo>
                    <a:pt x="450225" y="19236"/>
                    <a:pt x="450415" y="24094"/>
                    <a:pt x="450606" y="27333"/>
                  </a:cubicBezTo>
                  <a:cubicBezTo>
                    <a:pt x="453273" y="40763"/>
                    <a:pt x="445748" y="53431"/>
                    <a:pt x="444129" y="67052"/>
                  </a:cubicBezTo>
                  <a:cubicBezTo>
                    <a:pt x="443462" y="72767"/>
                    <a:pt x="436699" y="80006"/>
                    <a:pt x="434889" y="85530"/>
                  </a:cubicBezTo>
                  <a:cubicBezTo>
                    <a:pt x="431460" y="95913"/>
                    <a:pt x="422031" y="99818"/>
                    <a:pt x="417649" y="108200"/>
                  </a:cubicBezTo>
                  <a:cubicBezTo>
                    <a:pt x="414696" y="113724"/>
                    <a:pt x="408029" y="113248"/>
                    <a:pt x="403552" y="116963"/>
                  </a:cubicBezTo>
                  <a:cubicBezTo>
                    <a:pt x="398313" y="121249"/>
                    <a:pt x="398123" y="121059"/>
                    <a:pt x="390408" y="127440"/>
                  </a:cubicBezTo>
                  <a:cubicBezTo>
                    <a:pt x="385359" y="131631"/>
                    <a:pt x="376596" y="136013"/>
                    <a:pt x="369262" y="132298"/>
                  </a:cubicBezTo>
                  <a:lnTo>
                    <a:pt x="369548" y="132298"/>
                  </a:lnTo>
                  <a:cubicBezTo>
                    <a:pt x="366690" y="130869"/>
                    <a:pt x="360880" y="134489"/>
                    <a:pt x="361547" y="129536"/>
                  </a:cubicBezTo>
                  <a:cubicBezTo>
                    <a:pt x="362404" y="122297"/>
                    <a:pt x="360975" y="114201"/>
                    <a:pt x="366690" y="107914"/>
                  </a:cubicBezTo>
                  <a:cubicBezTo>
                    <a:pt x="370024" y="104199"/>
                    <a:pt x="376025" y="102866"/>
                    <a:pt x="376406" y="96484"/>
                  </a:cubicBezTo>
                  <a:cubicBezTo>
                    <a:pt x="376501" y="95627"/>
                    <a:pt x="380883" y="95817"/>
                    <a:pt x="376787" y="93531"/>
                  </a:cubicBezTo>
                  <a:cubicBezTo>
                    <a:pt x="372215" y="91055"/>
                    <a:pt x="375072" y="86578"/>
                    <a:pt x="376787" y="84578"/>
                  </a:cubicBezTo>
                  <a:cubicBezTo>
                    <a:pt x="384978" y="75243"/>
                    <a:pt x="388407" y="62670"/>
                    <a:pt x="397075" y="53717"/>
                  </a:cubicBezTo>
                  <a:cubicBezTo>
                    <a:pt x="398885" y="51812"/>
                    <a:pt x="400218" y="46954"/>
                    <a:pt x="405362" y="50193"/>
                  </a:cubicBezTo>
                  <a:cubicBezTo>
                    <a:pt x="407267" y="51336"/>
                    <a:pt x="409172" y="47907"/>
                    <a:pt x="410220" y="45621"/>
                  </a:cubicBezTo>
                  <a:cubicBezTo>
                    <a:pt x="411553" y="42573"/>
                    <a:pt x="410791" y="36000"/>
                    <a:pt x="417363" y="41144"/>
                  </a:cubicBezTo>
                  <a:cubicBezTo>
                    <a:pt x="417459" y="41144"/>
                    <a:pt x="419268" y="39810"/>
                    <a:pt x="419268" y="39239"/>
                  </a:cubicBezTo>
                  <a:cubicBezTo>
                    <a:pt x="418316" y="27237"/>
                    <a:pt x="430222" y="26475"/>
                    <a:pt x="435747" y="20094"/>
                  </a:cubicBezTo>
                  <a:cubicBezTo>
                    <a:pt x="437604" y="17903"/>
                    <a:pt x="439938" y="18379"/>
                    <a:pt x="442402" y="19082"/>
                  </a:cubicBezTo>
                  <a:close/>
                  <a:moveTo>
                    <a:pt x="78559" y="12568"/>
                  </a:moveTo>
                  <a:cubicBezTo>
                    <a:pt x="82845" y="13521"/>
                    <a:pt x="84941" y="17712"/>
                    <a:pt x="84560" y="22569"/>
                  </a:cubicBezTo>
                  <a:cubicBezTo>
                    <a:pt x="84465" y="24093"/>
                    <a:pt x="84560" y="25808"/>
                    <a:pt x="86465" y="26284"/>
                  </a:cubicBezTo>
                  <a:lnTo>
                    <a:pt x="86465" y="26570"/>
                  </a:lnTo>
                  <a:lnTo>
                    <a:pt x="86560" y="26570"/>
                  </a:lnTo>
                  <a:cubicBezTo>
                    <a:pt x="86179" y="29713"/>
                    <a:pt x="84369" y="32856"/>
                    <a:pt x="87036" y="36762"/>
                  </a:cubicBezTo>
                  <a:lnTo>
                    <a:pt x="87036" y="32672"/>
                  </a:lnTo>
                  <a:lnTo>
                    <a:pt x="86751" y="26571"/>
                  </a:lnTo>
                  <a:lnTo>
                    <a:pt x="86751" y="26570"/>
                  </a:lnTo>
                  <a:lnTo>
                    <a:pt x="86756" y="26577"/>
                  </a:lnTo>
                  <a:lnTo>
                    <a:pt x="86878" y="26730"/>
                  </a:lnTo>
                  <a:lnTo>
                    <a:pt x="86774" y="26522"/>
                  </a:lnTo>
                  <a:lnTo>
                    <a:pt x="86750" y="26570"/>
                  </a:lnTo>
                  <a:lnTo>
                    <a:pt x="86750" y="26474"/>
                  </a:lnTo>
                  <a:lnTo>
                    <a:pt x="86655" y="26284"/>
                  </a:lnTo>
                  <a:lnTo>
                    <a:pt x="86560" y="26284"/>
                  </a:lnTo>
                  <a:lnTo>
                    <a:pt x="87132" y="21807"/>
                  </a:lnTo>
                  <a:cubicBezTo>
                    <a:pt x="88084" y="22379"/>
                    <a:pt x="89418" y="22665"/>
                    <a:pt x="89989" y="23427"/>
                  </a:cubicBezTo>
                  <a:cubicBezTo>
                    <a:pt x="91608" y="25713"/>
                    <a:pt x="93418" y="28094"/>
                    <a:pt x="94180" y="30761"/>
                  </a:cubicBezTo>
                  <a:cubicBezTo>
                    <a:pt x="96942" y="40857"/>
                    <a:pt x="105420" y="46572"/>
                    <a:pt x="112087" y="53145"/>
                  </a:cubicBezTo>
                  <a:cubicBezTo>
                    <a:pt x="116373" y="57336"/>
                    <a:pt x="120755" y="60288"/>
                    <a:pt x="120564" y="66861"/>
                  </a:cubicBezTo>
                  <a:cubicBezTo>
                    <a:pt x="120469" y="70861"/>
                    <a:pt x="125898" y="69528"/>
                    <a:pt x="126565" y="72385"/>
                  </a:cubicBezTo>
                  <a:cubicBezTo>
                    <a:pt x="129708" y="86101"/>
                    <a:pt x="132756" y="100008"/>
                    <a:pt x="124851" y="113152"/>
                  </a:cubicBezTo>
                  <a:cubicBezTo>
                    <a:pt x="123517" y="115343"/>
                    <a:pt x="123136" y="117057"/>
                    <a:pt x="123422" y="119153"/>
                  </a:cubicBezTo>
                  <a:cubicBezTo>
                    <a:pt x="123803" y="121629"/>
                    <a:pt x="131709" y="123344"/>
                    <a:pt x="124374" y="126582"/>
                  </a:cubicBezTo>
                  <a:cubicBezTo>
                    <a:pt x="120088" y="128487"/>
                    <a:pt x="115326" y="133917"/>
                    <a:pt x="111135" y="126487"/>
                  </a:cubicBezTo>
                  <a:cubicBezTo>
                    <a:pt x="108658" y="121915"/>
                    <a:pt x="103610" y="121058"/>
                    <a:pt x="99895" y="118200"/>
                  </a:cubicBezTo>
                  <a:cubicBezTo>
                    <a:pt x="97038" y="116010"/>
                    <a:pt x="95609" y="113438"/>
                    <a:pt x="93704" y="110676"/>
                  </a:cubicBezTo>
                  <a:lnTo>
                    <a:pt x="93609" y="110676"/>
                  </a:lnTo>
                  <a:cubicBezTo>
                    <a:pt x="87894" y="102675"/>
                    <a:pt x="80940" y="95626"/>
                    <a:pt x="74273" y="88387"/>
                  </a:cubicBezTo>
                  <a:cubicBezTo>
                    <a:pt x="64367" y="77624"/>
                    <a:pt x="55128" y="66003"/>
                    <a:pt x="59985" y="50478"/>
                  </a:cubicBezTo>
                  <a:cubicBezTo>
                    <a:pt x="63224" y="40191"/>
                    <a:pt x="64653" y="29332"/>
                    <a:pt x="68844" y="19236"/>
                  </a:cubicBezTo>
                  <a:cubicBezTo>
                    <a:pt x="70844" y="14283"/>
                    <a:pt x="74178" y="11616"/>
                    <a:pt x="78559" y="12568"/>
                  </a:cubicBezTo>
                  <a:close/>
                  <a:moveTo>
                    <a:pt x="236197" y="1043"/>
                  </a:moveTo>
                  <a:cubicBezTo>
                    <a:pt x="247818" y="6187"/>
                    <a:pt x="246865" y="17712"/>
                    <a:pt x="251914" y="25999"/>
                  </a:cubicBezTo>
                  <a:cubicBezTo>
                    <a:pt x="252961" y="27713"/>
                    <a:pt x="253342" y="32952"/>
                    <a:pt x="248199" y="28761"/>
                  </a:cubicBezTo>
                  <a:cubicBezTo>
                    <a:pt x="245532" y="32666"/>
                    <a:pt x="250389" y="35619"/>
                    <a:pt x="249627" y="39239"/>
                  </a:cubicBezTo>
                  <a:cubicBezTo>
                    <a:pt x="254962" y="36381"/>
                    <a:pt x="252104" y="40286"/>
                    <a:pt x="252295" y="42287"/>
                  </a:cubicBezTo>
                  <a:cubicBezTo>
                    <a:pt x="252771" y="47525"/>
                    <a:pt x="248104" y="42287"/>
                    <a:pt x="247151" y="45335"/>
                  </a:cubicBezTo>
                  <a:cubicBezTo>
                    <a:pt x="251342" y="48192"/>
                    <a:pt x="251342" y="51907"/>
                    <a:pt x="250675" y="57050"/>
                  </a:cubicBezTo>
                  <a:cubicBezTo>
                    <a:pt x="249532" y="65623"/>
                    <a:pt x="251533" y="74291"/>
                    <a:pt x="255057" y="82387"/>
                  </a:cubicBezTo>
                  <a:cubicBezTo>
                    <a:pt x="256581" y="85911"/>
                    <a:pt x="256009" y="89721"/>
                    <a:pt x="256771" y="93055"/>
                  </a:cubicBezTo>
                  <a:cubicBezTo>
                    <a:pt x="259724" y="105914"/>
                    <a:pt x="263629" y="118582"/>
                    <a:pt x="267249" y="131345"/>
                  </a:cubicBezTo>
                  <a:cubicBezTo>
                    <a:pt x="267725" y="132869"/>
                    <a:pt x="268677" y="134298"/>
                    <a:pt x="269630" y="135441"/>
                  </a:cubicBezTo>
                  <a:cubicBezTo>
                    <a:pt x="274773" y="141632"/>
                    <a:pt x="280965" y="146395"/>
                    <a:pt x="281250" y="156206"/>
                  </a:cubicBezTo>
                  <a:cubicBezTo>
                    <a:pt x="281536" y="165921"/>
                    <a:pt x="291728" y="171350"/>
                    <a:pt x="297824" y="177446"/>
                  </a:cubicBezTo>
                  <a:cubicBezTo>
                    <a:pt x="303158" y="182780"/>
                    <a:pt x="308492" y="189734"/>
                    <a:pt x="316493" y="192877"/>
                  </a:cubicBezTo>
                  <a:cubicBezTo>
                    <a:pt x="323923" y="195734"/>
                    <a:pt x="328685" y="202973"/>
                    <a:pt x="336019" y="206307"/>
                  </a:cubicBezTo>
                  <a:cubicBezTo>
                    <a:pt x="339163" y="207736"/>
                    <a:pt x="343639" y="208688"/>
                    <a:pt x="343639" y="213546"/>
                  </a:cubicBezTo>
                  <a:cubicBezTo>
                    <a:pt x="343639" y="215927"/>
                    <a:pt x="344973" y="215165"/>
                    <a:pt x="345925" y="214880"/>
                  </a:cubicBezTo>
                  <a:cubicBezTo>
                    <a:pt x="352879" y="212403"/>
                    <a:pt x="360213" y="215070"/>
                    <a:pt x="366214" y="220785"/>
                  </a:cubicBezTo>
                  <a:cubicBezTo>
                    <a:pt x="366975" y="221452"/>
                    <a:pt x="371071" y="222595"/>
                    <a:pt x="373738" y="223071"/>
                  </a:cubicBezTo>
                  <a:cubicBezTo>
                    <a:pt x="378882" y="224024"/>
                    <a:pt x="381644" y="226976"/>
                    <a:pt x="384978" y="231072"/>
                  </a:cubicBezTo>
                  <a:cubicBezTo>
                    <a:pt x="387550" y="234215"/>
                    <a:pt x="394217" y="234215"/>
                    <a:pt x="399170" y="235168"/>
                  </a:cubicBezTo>
                  <a:cubicBezTo>
                    <a:pt x="403742" y="236025"/>
                    <a:pt x="408314" y="234787"/>
                    <a:pt x="412696" y="238787"/>
                  </a:cubicBezTo>
                  <a:cubicBezTo>
                    <a:pt x="413934" y="240026"/>
                    <a:pt x="421077" y="242883"/>
                    <a:pt x="425364" y="239073"/>
                  </a:cubicBezTo>
                  <a:cubicBezTo>
                    <a:pt x="429841" y="246122"/>
                    <a:pt x="437365" y="243550"/>
                    <a:pt x="443175" y="243550"/>
                  </a:cubicBezTo>
                  <a:cubicBezTo>
                    <a:pt x="451272" y="243550"/>
                    <a:pt x="458987" y="247741"/>
                    <a:pt x="466131" y="246693"/>
                  </a:cubicBezTo>
                  <a:cubicBezTo>
                    <a:pt x="472703" y="245741"/>
                    <a:pt x="478227" y="246788"/>
                    <a:pt x="484419" y="247741"/>
                  </a:cubicBezTo>
                  <a:cubicBezTo>
                    <a:pt x="496611" y="249455"/>
                    <a:pt x="499849" y="259361"/>
                    <a:pt x="503278" y="268029"/>
                  </a:cubicBezTo>
                  <a:cubicBezTo>
                    <a:pt x="505183" y="272792"/>
                    <a:pt x="507279" y="278507"/>
                    <a:pt x="505755" y="284603"/>
                  </a:cubicBezTo>
                  <a:cubicBezTo>
                    <a:pt x="504517" y="289841"/>
                    <a:pt x="509279" y="288222"/>
                    <a:pt x="512041" y="288698"/>
                  </a:cubicBezTo>
                  <a:lnTo>
                    <a:pt x="511851" y="288794"/>
                  </a:lnTo>
                  <a:lnTo>
                    <a:pt x="511851" y="290699"/>
                  </a:lnTo>
                  <a:cubicBezTo>
                    <a:pt x="507469" y="297080"/>
                    <a:pt x="509470" y="304224"/>
                    <a:pt x="509470" y="311082"/>
                  </a:cubicBezTo>
                  <a:cubicBezTo>
                    <a:pt x="509470" y="312320"/>
                    <a:pt x="510898" y="313749"/>
                    <a:pt x="510898" y="315464"/>
                  </a:cubicBezTo>
                  <a:cubicBezTo>
                    <a:pt x="510803" y="320512"/>
                    <a:pt x="509660" y="325179"/>
                    <a:pt x="505183" y="328322"/>
                  </a:cubicBezTo>
                  <a:cubicBezTo>
                    <a:pt x="510517" y="332990"/>
                    <a:pt x="508803" y="339657"/>
                    <a:pt x="505945" y="343277"/>
                  </a:cubicBezTo>
                  <a:cubicBezTo>
                    <a:pt x="497849" y="353564"/>
                    <a:pt x="488800" y="363279"/>
                    <a:pt x="474798" y="366041"/>
                  </a:cubicBezTo>
                  <a:cubicBezTo>
                    <a:pt x="463559" y="368327"/>
                    <a:pt x="452034" y="366803"/>
                    <a:pt x="440699" y="367946"/>
                  </a:cubicBezTo>
                  <a:cubicBezTo>
                    <a:pt x="433746" y="368613"/>
                    <a:pt x="430602" y="376043"/>
                    <a:pt x="423078" y="374138"/>
                  </a:cubicBezTo>
                  <a:cubicBezTo>
                    <a:pt x="420125" y="373471"/>
                    <a:pt x="415934" y="375662"/>
                    <a:pt x="412124" y="374138"/>
                  </a:cubicBezTo>
                  <a:cubicBezTo>
                    <a:pt x="409552" y="373090"/>
                    <a:pt x="407266" y="374614"/>
                    <a:pt x="404885" y="374995"/>
                  </a:cubicBezTo>
                  <a:cubicBezTo>
                    <a:pt x="390883" y="376995"/>
                    <a:pt x="379072" y="384806"/>
                    <a:pt x="365928" y="388901"/>
                  </a:cubicBezTo>
                  <a:cubicBezTo>
                    <a:pt x="354307" y="392521"/>
                    <a:pt x="342115" y="393569"/>
                    <a:pt x="330114" y="395664"/>
                  </a:cubicBezTo>
                  <a:cubicBezTo>
                    <a:pt x="328780" y="395855"/>
                    <a:pt x="327447" y="396521"/>
                    <a:pt x="326304" y="396045"/>
                  </a:cubicBezTo>
                  <a:cubicBezTo>
                    <a:pt x="316398" y="392045"/>
                    <a:pt x="308302" y="397283"/>
                    <a:pt x="300015" y="401189"/>
                  </a:cubicBezTo>
                  <a:cubicBezTo>
                    <a:pt x="296205" y="402903"/>
                    <a:pt x="293538" y="403189"/>
                    <a:pt x="289442" y="401284"/>
                  </a:cubicBezTo>
                  <a:cubicBezTo>
                    <a:pt x="279536" y="396521"/>
                    <a:pt x="266296" y="406904"/>
                    <a:pt x="265534" y="417667"/>
                  </a:cubicBezTo>
                  <a:cubicBezTo>
                    <a:pt x="264391" y="432050"/>
                    <a:pt x="263439" y="446337"/>
                    <a:pt x="262200" y="460625"/>
                  </a:cubicBezTo>
                  <a:cubicBezTo>
                    <a:pt x="261534" y="467768"/>
                    <a:pt x="264868" y="475007"/>
                    <a:pt x="262772" y="481484"/>
                  </a:cubicBezTo>
                  <a:cubicBezTo>
                    <a:pt x="256104" y="502344"/>
                    <a:pt x="260296" y="523490"/>
                    <a:pt x="260105" y="544445"/>
                  </a:cubicBezTo>
                  <a:cubicBezTo>
                    <a:pt x="260105" y="556065"/>
                    <a:pt x="253437" y="565685"/>
                    <a:pt x="253152" y="577115"/>
                  </a:cubicBezTo>
                  <a:cubicBezTo>
                    <a:pt x="252771" y="591498"/>
                    <a:pt x="249627" y="605595"/>
                    <a:pt x="249627" y="620073"/>
                  </a:cubicBezTo>
                  <a:cubicBezTo>
                    <a:pt x="249627" y="629693"/>
                    <a:pt x="247437" y="639123"/>
                    <a:pt x="246008" y="648553"/>
                  </a:cubicBezTo>
                  <a:cubicBezTo>
                    <a:pt x="244675" y="657125"/>
                    <a:pt x="245818" y="666079"/>
                    <a:pt x="244865" y="674842"/>
                  </a:cubicBezTo>
                  <a:cubicBezTo>
                    <a:pt x="243436" y="687986"/>
                    <a:pt x="247151" y="701417"/>
                    <a:pt x="245056" y="714561"/>
                  </a:cubicBezTo>
                  <a:cubicBezTo>
                    <a:pt x="242293" y="731516"/>
                    <a:pt x="244294" y="748470"/>
                    <a:pt x="242674" y="765425"/>
                  </a:cubicBezTo>
                  <a:cubicBezTo>
                    <a:pt x="242103" y="771140"/>
                    <a:pt x="238674" y="773711"/>
                    <a:pt x="234673" y="776474"/>
                  </a:cubicBezTo>
                  <a:lnTo>
                    <a:pt x="223339" y="776474"/>
                  </a:lnTo>
                  <a:lnTo>
                    <a:pt x="223148" y="776474"/>
                  </a:lnTo>
                  <a:lnTo>
                    <a:pt x="213719" y="776474"/>
                  </a:lnTo>
                  <a:lnTo>
                    <a:pt x="213528" y="776474"/>
                  </a:lnTo>
                  <a:lnTo>
                    <a:pt x="207718" y="776474"/>
                  </a:lnTo>
                  <a:cubicBezTo>
                    <a:pt x="208384" y="767615"/>
                    <a:pt x="199907" y="764091"/>
                    <a:pt x="196383" y="757614"/>
                  </a:cubicBezTo>
                  <a:cubicBezTo>
                    <a:pt x="195049" y="755328"/>
                    <a:pt x="193144" y="752185"/>
                    <a:pt x="193144" y="750375"/>
                  </a:cubicBezTo>
                  <a:cubicBezTo>
                    <a:pt x="193525" y="740755"/>
                    <a:pt x="188668" y="732468"/>
                    <a:pt x="187620" y="723419"/>
                  </a:cubicBezTo>
                  <a:cubicBezTo>
                    <a:pt x="187334" y="721229"/>
                    <a:pt x="185334" y="720657"/>
                    <a:pt x="185620" y="719038"/>
                  </a:cubicBezTo>
                  <a:cubicBezTo>
                    <a:pt x="189144" y="699893"/>
                    <a:pt x="179904" y="682271"/>
                    <a:pt x="178857" y="663602"/>
                  </a:cubicBezTo>
                  <a:cubicBezTo>
                    <a:pt x="178666" y="659983"/>
                    <a:pt x="181714" y="658649"/>
                    <a:pt x="181238" y="654744"/>
                  </a:cubicBezTo>
                  <a:cubicBezTo>
                    <a:pt x="178190" y="628074"/>
                    <a:pt x="182571" y="601309"/>
                    <a:pt x="180667" y="574639"/>
                  </a:cubicBezTo>
                  <a:cubicBezTo>
                    <a:pt x="180190" y="568638"/>
                    <a:pt x="175237" y="561875"/>
                    <a:pt x="184286" y="558065"/>
                  </a:cubicBezTo>
                  <a:cubicBezTo>
                    <a:pt x="180000" y="551684"/>
                    <a:pt x="182191" y="544064"/>
                    <a:pt x="180762" y="537110"/>
                  </a:cubicBezTo>
                  <a:cubicBezTo>
                    <a:pt x="178952" y="527871"/>
                    <a:pt x="177619" y="518918"/>
                    <a:pt x="179428" y="508821"/>
                  </a:cubicBezTo>
                  <a:cubicBezTo>
                    <a:pt x="180381" y="503392"/>
                    <a:pt x="180095" y="495010"/>
                    <a:pt x="178095" y="487580"/>
                  </a:cubicBezTo>
                  <a:cubicBezTo>
                    <a:pt x="175714" y="478627"/>
                    <a:pt x="174666" y="468245"/>
                    <a:pt x="174380" y="458624"/>
                  </a:cubicBezTo>
                  <a:cubicBezTo>
                    <a:pt x="173999" y="445575"/>
                    <a:pt x="170189" y="432907"/>
                    <a:pt x="170856" y="419858"/>
                  </a:cubicBezTo>
                  <a:cubicBezTo>
                    <a:pt x="158759" y="415667"/>
                    <a:pt x="170475" y="404999"/>
                    <a:pt x="164760" y="397950"/>
                  </a:cubicBezTo>
                  <a:cubicBezTo>
                    <a:pt x="160188" y="392426"/>
                    <a:pt x="157140" y="384996"/>
                    <a:pt x="151901" y="379853"/>
                  </a:cubicBezTo>
                  <a:cubicBezTo>
                    <a:pt x="149234" y="377186"/>
                    <a:pt x="150472" y="370232"/>
                    <a:pt x="144091" y="371661"/>
                  </a:cubicBezTo>
                  <a:cubicBezTo>
                    <a:pt x="131613" y="374614"/>
                    <a:pt x="121897" y="362612"/>
                    <a:pt x="110848" y="364327"/>
                  </a:cubicBezTo>
                  <a:cubicBezTo>
                    <a:pt x="102562" y="365660"/>
                    <a:pt x="95132" y="360136"/>
                    <a:pt x="86941" y="364041"/>
                  </a:cubicBezTo>
                  <a:cubicBezTo>
                    <a:pt x="83607" y="365565"/>
                    <a:pt x="78749" y="365375"/>
                    <a:pt x="74272" y="361565"/>
                  </a:cubicBezTo>
                  <a:cubicBezTo>
                    <a:pt x="71224" y="358993"/>
                    <a:pt x="64271" y="361088"/>
                    <a:pt x="59032" y="360803"/>
                  </a:cubicBezTo>
                  <a:cubicBezTo>
                    <a:pt x="53222" y="360517"/>
                    <a:pt x="47507" y="362993"/>
                    <a:pt x="41792" y="361184"/>
                  </a:cubicBezTo>
                  <a:cubicBezTo>
                    <a:pt x="40649" y="360803"/>
                    <a:pt x="39887" y="360136"/>
                    <a:pt x="38649" y="361374"/>
                  </a:cubicBezTo>
                  <a:cubicBezTo>
                    <a:pt x="35887" y="363946"/>
                    <a:pt x="33886" y="360898"/>
                    <a:pt x="32362" y="361946"/>
                  </a:cubicBezTo>
                  <a:cubicBezTo>
                    <a:pt x="27219" y="365375"/>
                    <a:pt x="23599" y="359850"/>
                    <a:pt x="19408" y="361374"/>
                  </a:cubicBezTo>
                  <a:cubicBezTo>
                    <a:pt x="11312" y="364422"/>
                    <a:pt x="2168" y="356135"/>
                    <a:pt x="930" y="347563"/>
                  </a:cubicBezTo>
                  <a:cubicBezTo>
                    <a:pt x="-23" y="341181"/>
                    <a:pt x="-785" y="335466"/>
                    <a:pt x="1501" y="329465"/>
                  </a:cubicBezTo>
                  <a:cubicBezTo>
                    <a:pt x="2644" y="326322"/>
                    <a:pt x="-499" y="320131"/>
                    <a:pt x="7216" y="322417"/>
                  </a:cubicBezTo>
                  <a:cubicBezTo>
                    <a:pt x="7502" y="322512"/>
                    <a:pt x="8835" y="320607"/>
                    <a:pt x="8740" y="320417"/>
                  </a:cubicBezTo>
                  <a:cubicBezTo>
                    <a:pt x="1120" y="310606"/>
                    <a:pt x="14836" y="316130"/>
                    <a:pt x="14836" y="311844"/>
                  </a:cubicBezTo>
                  <a:cubicBezTo>
                    <a:pt x="3406" y="308225"/>
                    <a:pt x="3883" y="308320"/>
                    <a:pt x="7216" y="296509"/>
                  </a:cubicBezTo>
                  <a:cubicBezTo>
                    <a:pt x="9026" y="290318"/>
                    <a:pt x="13884" y="286317"/>
                    <a:pt x="15408" y="280126"/>
                  </a:cubicBezTo>
                  <a:cubicBezTo>
                    <a:pt x="17503" y="271839"/>
                    <a:pt x="25885" y="277554"/>
                    <a:pt x="30743" y="274316"/>
                  </a:cubicBezTo>
                  <a:cubicBezTo>
                    <a:pt x="35887" y="270887"/>
                    <a:pt x="42840" y="275840"/>
                    <a:pt x="48460" y="269839"/>
                  </a:cubicBezTo>
                  <a:cubicBezTo>
                    <a:pt x="52365" y="265648"/>
                    <a:pt x="59032" y="269553"/>
                    <a:pt x="58556" y="274887"/>
                  </a:cubicBezTo>
                  <a:cubicBezTo>
                    <a:pt x="59508" y="274601"/>
                    <a:pt x="60842" y="274506"/>
                    <a:pt x="60937" y="274030"/>
                  </a:cubicBezTo>
                  <a:cubicBezTo>
                    <a:pt x="62271" y="268791"/>
                    <a:pt x="64557" y="266505"/>
                    <a:pt x="70558" y="268410"/>
                  </a:cubicBezTo>
                  <a:cubicBezTo>
                    <a:pt x="71986" y="268886"/>
                    <a:pt x="75891" y="267934"/>
                    <a:pt x="78749" y="265362"/>
                  </a:cubicBezTo>
                  <a:cubicBezTo>
                    <a:pt x="86179" y="258695"/>
                    <a:pt x="96846" y="259838"/>
                    <a:pt x="106086" y="257361"/>
                  </a:cubicBezTo>
                  <a:cubicBezTo>
                    <a:pt x="112182" y="255742"/>
                    <a:pt x="118564" y="254980"/>
                    <a:pt x="124564" y="253075"/>
                  </a:cubicBezTo>
                  <a:cubicBezTo>
                    <a:pt x="129612" y="251456"/>
                    <a:pt x="136185" y="251265"/>
                    <a:pt x="137233" y="243836"/>
                  </a:cubicBezTo>
                  <a:cubicBezTo>
                    <a:pt x="151329" y="249836"/>
                    <a:pt x="155997" y="229167"/>
                    <a:pt x="169332" y="232310"/>
                  </a:cubicBezTo>
                  <a:cubicBezTo>
                    <a:pt x="170379" y="232596"/>
                    <a:pt x="172380" y="228881"/>
                    <a:pt x="173999" y="226976"/>
                  </a:cubicBezTo>
                  <a:cubicBezTo>
                    <a:pt x="176571" y="224024"/>
                    <a:pt x="177428" y="217166"/>
                    <a:pt x="183905" y="222595"/>
                  </a:cubicBezTo>
                  <a:cubicBezTo>
                    <a:pt x="184286" y="222881"/>
                    <a:pt x="186096" y="222309"/>
                    <a:pt x="186191" y="221833"/>
                  </a:cubicBezTo>
                  <a:cubicBezTo>
                    <a:pt x="190477" y="206212"/>
                    <a:pt x="202574" y="194115"/>
                    <a:pt x="204955" y="177351"/>
                  </a:cubicBezTo>
                  <a:cubicBezTo>
                    <a:pt x="208384" y="153253"/>
                    <a:pt x="209908" y="128964"/>
                    <a:pt x="208003" y="105056"/>
                  </a:cubicBezTo>
                  <a:cubicBezTo>
                    <a:pt x="207146" y="93912"/>
                    <a:pt x="207908" y="81720"/>
                    <a:pt x="203241" y="70766"/>
                  </a:cubicBezTo>
                  <a:cubicBezTo>
                    <a:pt x="210289" y="66194"/>
                    <a:pt x="202574" y="57812"/>
                    <a:pt x="207813" y="52669"/>
                  </a:cubicBezTo>
                  <a:cubicBezTo>
                    <a:pt x="211623" y="48859"/>
                    <a:pt x="208098" y="43525"/>
                    <a:pt x="210194" y="39905"/>
                  </a:cubicBezTo>
                  <a:cubicBezTo>
                    <a:pt x="217147" y="27904"/>
                    <a:pt x="217433" y="12854"/>
                    <a:pt x="227720" y="2567"/>
                  </a:cubicBezTo>
                  <a:cubicBezTo>
                    <a:pt x="229816" y="472"/>
                    <a:pt x="231244" y="-1147"/>
                    <a:pt x="236197" y="1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74B72920-69A3-74B7-BA1D-1F2FF67C9955}"/>
                </a:ext>
              </a:extLst>
            </p:cNvPr>
            <p:cNvSpPr/>
            <p:nvPr/>
          </p:nvSpPr>
          <p:spPr>
            <a:xfrm>
              <a:off x="10732103" y="6210946"/>
              <a:ext cx="382260" cy="413371"/>
            </a:xfrm>
            <a:custGeom>
              <a:avLst/>
              <a:gdLst>
                <a:gd name="connsiteX0" fmla="*/ 33115 w 382260"/>
                <a:gd name="connsiteY0" fmla="*/ 204794 h 413370"/>
                <a:gd name="connsiteX1" fmla="*/ 45879 w 382260"/>
                <a:gd name="connsiteY1" fmla="*/ 200889 h 413370"/>
                <a:gd name="connsiteX2" fmla="*/ 56642 w 382260"/>
                <a:gd name="connsiteY2" fmla="*/ 194602 h 413370"/>
                <a:gd name="connsiteX3" fmla="*/ 78264 w 382260"/>
                <a:gd name="connsiteY3" fmla="*/ 180029 h 413370"/>
                <a:gd name="connsiteX4" fmla="*/ 97409 w 382260"/>
                <a:gd name="connsiteY4" fmla="*/ 165456 h 413370"/>
                <a:gd name="connsiteX5" fmla="*/ 124555 w 382260"/>
                <a:gd name="connsiteY5" fmla="*/ 139929 h 413370"/>
                <a:gd name="connsiteX6" fmla="*/ 148463 w 382260"/>
                <a:gd name="connsiteY6" fmla="*/ 111925 h 413370"/>
                <a:gd name="connsiteX7" fmla="*/ 160179 w 382260"/>
                <a:gd name="connsiteY7" fmla="*/ 91923 h 413370"/>
                <a:gd name="connsiteX8" fmla="*/ 162560 w 382260"/>
                <a:gd name="connsiteY8" fmla="*/ 87541 h 413370"/>
                <a:gd name="connsiteX9" fmla="*/ 166751 w 382260"/>
                <a:gd name="connsiteY9" fmla="*/ 77064 h 413370"/>
                <a:gd name="connsiteX10" fmla="*/ 167513 w 382260"/>
                <a:gd name="connsiteY10" fmla="*/ 74397 h 413370"/>
                <a:gd name="connsiteX11" fmla="*/ 173228 w 382260"/>
                <a:gd name="connsiteY11" fmla="*/ 54299 h 413370"/>
                <a:gd name="connsiteX12" fmla="*/ 175609 w 382260"/>
                <a:gd name="connsiteY12" fmla="*/ 28772 h 413370"/>
                <a:gd name="connsiteX13" fmla="*/ 175609 w 382260"/>
                <a:gd name="connsiteY13" fmla="*/ 7055 h 413370"/>
                <a:gd name="connsiteX14" fmla="*/ 176371 w 382260"/>
                <a:gd name="connsiteY14" fmla="*/ 4864 h 413370"/>
                <a:gd name="connsiteX15" fmla="*/ 177419 w 382260"/>
                <a:gd name="connsiteY15" fmla="*/ 2293 h 413370"/>
                <a:gd name="connsiteX16" fmla="*/ 180086 w 382260"/>
                <a:gd name="connsiteY16" fmla="*/ 7 h 413370"/>
                <a:gd name="connsiteX17" fmla="*/ 187325 w 382260"/>
                <a:gd name="connsiteY17" fmla="*/ 7817 h 413370"/>
                <a:gd name="connsiteX18" fmla="*/ 188373 w 382260"/>
                <a:gd name="connsiteY18" fmla="*/ 27629 h 413370"/>
                <a:gd name="connsiteX19" fmla="*/ 195802 w 382260"/>
                <a:gd name="connsiteY19" fmla="*/ 56490 h 413370"/>
                <a:gd name="connsiteX20" fmla="*/ 204089 w 382260"/>
                <a:gd name="connsiteY20" fmla="*/ 75635 h 413370"/>
                <a:gd name="connsiteX21" fmla="*/ 208852 w 382260"/>
                <a:gd name="connsiteY21" fmla="*/ 90494 h 413370"/>
                <a:gd name="connsiteX22" fmla="*/ 225997 w 382260"/>
                <a:gd name="connsiteY22" fmla="*/ 117926 h 413370"/>
                <a:gd name="connsiteX23" fmla="*/ 249428 w 382260"/>
                <a:gd name="connsiteY23" fmla="*/ 144406 h 413370"/>
                <a:gd name="connsiteX24" fmla="*/ 263620 w 382260"/>
                <a:gd name="connsiteY24" fmla="*/ 156312 h 413370"/>
                <a:gd name="connsiteX25" fmla="*/ 274765 w 382260"/>
                <a:gd name="connsiteY25" fmla="*/ 164599 h 413370"/>
                <a:gd name="connsiteX26" fmla="*/ 298196 w 382260"/>
                <a:gd name="connsiteY26" fmla="*/ 178029 h 413370"/>
                <a:gd name="connsiteX27" fmla="*/ 319342 w 382260"/>
                <a:gd name="connsiteY27" fmla="*/ 188506 h 413370"/>
                <a:gd name="connsiteX28" fmla="*/ 345726 w 382260"/>
                <a:gd name="connsiteY28" fmla="*/ 199079 h 413370"/>
                <a:gd name="connsiteX29" fmla="*/ 377635 w 382260"/>
                <a:gd name="connsiteY29" fmla="*/ 210509 h 413370"/>
                <a:gd name="connsiteX30" fmla="*/ 381730 w 382260"/>
                <a:gd name="connsiteY30" fmla="*/ 215843 h 413370"/>
                <a:gd name="connsiteX31" fmla="*/ 379635 w 382260"/>
                <a:gd name="connsiteY31" fmla="*/ 220987 h 413370"/>
                <a:gd name="connsiteX32" fmla="*/ 375730 w 382260"/>
                <a:gd name="connsiteY32" fmla="*/ 226321 h 413370"/>
                <a:gd name="connsiteX33" fmla="*/ 370110 w 382260"/>
                <a:gd name="connsiteY33" fmla="*/ 229273 h 413370"/>
                <a:gd name="connsiteX34" fmla="*/ 355060 w 382260"/>
                <a:gd name="connsiteY34" fmla="*/ 232607 h 413370"/>
                <a:gd name="connsiteX35" fmla="*/ 346964 w 382260"/>
                <a:gd name="connsiteY35" fmla="*/ 236608 h 413370"/>
                <a:gd name="connsiteX36" fmla="*/ 322961 w 382260"/>
                <a:gd name="connsiteY36" fmla="*/ 246990 h 413370"/>
                <a:gd name="connsiteX37" fmla="*/ 288671 w 382260"/>
                <a:gd name="connsiteY37" fmla="*/ 265849 h 413370"/>
                <a:gd name="connsiteX38" fmla="*/ 267907 w 382260"/>
                <a:gd name="connsiteY38" fmla="*/ 279946 h 413370"/>
                <a:gd name="connsiteX39" fmla="*/ 237998 w 382260"/>
                <a:gd name="connsiteY39" fmla="*/ 307855 h 413370"/>
                <a:gd name="connsiteX40" fmla="*/ 225330 w 382260"/>
                <a:gd name="connsiteY40" fmla="*/ 322714 h 413370"/>
                <a:gd name="connsiteX41" fmla="*/ 200660 w 382260"/>
                <a:gd name="connsiteY41" fmla="*/ 364814 h 413370"/>
                <a:gd name="connsiteX42" fmla="*/ 187135 w 382260"/>
                <a:gd name="connsiteY42" fmla="*/ 398628 h 413370"/>
                <a:gd name="connsiteX43" fmla="*/ 186277 w 382260"/>
                <a:gd name="connsiteY43" fmla="*/ 402724 h 413370"/>
                <a:gd name="connsiteX44" fmla="*/ 181896 w 382260"/>
                <a:gd name="connsiteY44" fmla="*/ 412725 h 413370"/>
                <a:gd name="connsiteX45" fmla="*/ 179896 w 382260"/>
                <a:gd name="connsiteY45" fmla="*/ 413011 h 413370"/>
                <a:gd name="connsiteX46" fmla="*/ 176086 w 382260"/>
                <a:gd name="connsiteY46" fmla="*/ 412439 h 413370"/>
                <a:gd name="connsiteX47" fmla="*/ 175038 w 382260"/>
                <a:gd name="connsiteY47" fmla="*/ 411391 h 413370"/>
                <a:gd name="connsiteX48" fmla="*/ 175038 w 382260"/>
                <a:gd name="connsiteY48" fmla="*/ 403771 h 413370"/>
                <a:gd name="connsiteX49" fmla="*/ 173800 w 382260"/>
                <a:gd name="connsiteY49" fmla="*/ 383769 h 413370"/>
                <a:gd name="connsiteX50" fmla="*/ 170275 w 382260"/>
                <a:gd name="connsiteY50" fmla="*/ 371386 h 413370"/>
                <a:gd name="connsiteX51" fmla="*/ 165703 w 382260"/>
                <a:gd name="connsiteY51" fmla="*/ 352527 h 413370"/>
                <a:gd name="connsiteX52" fmla="*/ 152749 w 382260"/>
                <a:gd name="connsiteY52" fmla="*/ 321285 h 413370"/>
                <a:gd name="connsiteX53" fmla="*/ 122269 w 382260"/>
                <a:gd name="connsiteY53" fmla="*/ 274041 h 413370"/>
                <a:gd name="connsiteX54" fmla="*/ 97219 w 382260"/>
                <a:gd name="connsiteY54" fmla="*/ 253276 h 413370"/>
                <a:gd name="connsiteX55" fmla="*/ 85027 w 382260"/>
                <a:gd name="connsiteY55" fmla="*/ 247276 h 413370"/>
                <a:gd name="connsiteX56" fmla="*/ 76359 w 382260"/>
                <a:gd name="connsiteY56" fmla="*/ 242418 h 413370"/>
                <a:gd name="connsiteX57" fmla="*/ 74930 w 382260"/>
                <a:gd name="connsiteY57" fmla="*/ 242418 h 413370"/>
                <a:gd name="connsiteX58" fmla="*/ 71977 w 382260"/>
                <a:gd name="connsiteY58" fmla="*/ 242799 h 413370"/>
                <a:gd name="connsiteX59" fmla="*/ 63119 w 382260"/>
                <a:gd name="connsiteY59" fmla="*/ 240322 h 413370"/>
                <a:gd name="connsiteX60" fmla="*/ 61119 w 382260"/>
                <a:gd name="connsiteY60" fmla="*/ 237465 h 413370"/>
                <a:gd name="connsiteX61" fmla="*/ 58071 w 382260"/>
                <a:gd name="connsiteY61" fmla="*/ 234512 h 413370"/>
                <a:gd name="connsiteX62" fmla="*/ 42164 w 382260"/>
                <a:gd name="connsiteY62" fmla="*/ 232417 h 413370"/>
                <a:gd name="connsiteX63" fmla="*/ 38640 w 382260"/>
                <a:gd name="connsiteY63" fmla="*/ 230607 h 413370"/>
                <a:gd name="connsiteX64" fmla="*/ 34544 w 382260"/>
                <a:gd name="connsiteY64" fmla="*/ 229940 h 413370"/>
                <a:gd name="connsiteX65" fmla="*/ 30448 w 382260"/>
                <a:gd name="connsiteY65" fmla="*/ 230321 h 413370"/>
                <a:gd name="connsiteX66" fmla="*/ 27305 w 382260"/>
                <a:gd name="connsiteY66" fmla="*/ 231274 h 413370"/>
                <a:gd name="connsiteX67" fmla="*/ 25114 w 382260"/>
                <a:gd name="connsiteY67" fmla="*/ 232321 h 413370"/>
                <a:gd name="connsiteX68" fmla="*/ 17685 w 382260"/>
                <a:gd name="connsiteY68" fmla="*/ 231845 h 413370"/>
                <a:gd name="connsiteX69" fmla="*/ 13494 w 382260"/>
                <a:gd name="connsiteY69" fmla="*/ 229750 h 413370"/>
                <a:gd name="connsiteX70" fmla="*/ 9874 w 382260"/>
                <a:gd name="connsiteY70" fmla="*/ 230607 h 413370"/>
                <a:gd name="connsiteX71" fmla="*/ 6541 w 382260"/>
                <a:gd name="connsiteY71" fmla="*/ 228130 h 413370"/>
                <a:gd name="connsiteX72" fmla="*/ 2826 w 382260"/>
                <a:gd name="connsiteY72" fmla="*/ 226416 h 413370"/>
                <a:gd name="connsiteX73" fmla="*/ 64 w 382260"/>
                <a:gd name="connsiteY73" fmla="*/ 224320 h 413370"/>
                <a:gd name="connsiteX74" fmla="*/ 1778 w 382260"/>
                <a:gd name="connsiteY74" fmla="*/ 222034 h 413370"/>
                <a:gd name="connsiteX75" fmla="*/ 7017 w 382260"/>
                <a:gd name="connsiteY75" fmla="*/ 211938 h 413370"/>
                <a:gd name="connsiteX76" fmla="*/ 10732 w 382260"/>
                <a:gd name="connsiteY76" fmla="*/ 209366 h 413370"/>
                <a:gd name="connsiteX77" fmla="*/ 28448 w 382260"/>
                <a:gd name="connsiteY77" fmla="*/ 206699 h 413370"/>
                <a:gd name="connsiteX78" fmla="*/ 32544 w 382260"/>
                <a:gd name="connsiteY78" fmla="*/ 205175 h 41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82260" h="413370">
                  <a:moveTo>
                    <a:pt x="33115" y="204794"/>
                  </a:moveTo>
                  <a:cubicBezTo>
                    <a:pt x="36830" y="201937"/>
                    <a:pt x="41593" y="202032"/>
                    <a:pt x="45879" y="200889"/>
                  </a:cubicBezTo>
                  <a:cubicBezTo>
                    <a:pt x="50260" y="199651"/>
                    <a:pt x="52927" y="196507"/>
                    <a:pt x="56642" y="194602"/>
                  </a:cubicBezTo>
                  <a:cubicBezTo>
                    <a:pt x="64357" y="190697"/>
                    <a:pt x="71215" y="185173"/>
                    <a:pt x="78264" y="180029"/>
                  </a:cubicBezTo>
                  <a:cubicBezTo>
                    <a:pt x="84741" y="175362"/>
                    <a:pt x="91980" y="171171"/>
                    <a:pt x="97409" y="165456"/>
                  </a:cubicBezTo>
                  <a:cubicBezTo>
                    <a:pt x="105982" y="156407"/>
                    <a:pt x="115888" y="148882"/>
                    <a:pt x="124555" y="139929"/>
                  </a:cubicBezTo>
                  <a:cubicBezTo>
                    <a:pt x="133128" y="131071"/>
                    <a:pt x="141129" y="121736"/>
                    <a:pt x="148463" y="111925"/>
                  </a:cubicBezTo>
                  <a:cubicBezTo>
                    <a:pt x="153035" y="105829"/>
                    <a:pt x="157798" y="99448"/>
                    <a:pt x="160179" y="91923"/>
                  </a:cubicBezTo>
                  <a:cubicBezTo>
                    <a:pt x="160655" y="90399"/>
                    <a:pt x="161322" y="88494"/>
                    <a:pt x="162560" y="87541"/>
                  </a:cubicBezTo>
                  <a:cubicBezTo>
                    <a:pt x="166180" y="84779"/>
                    <a:pt x="166275" y="80874"/>
                    <a:pt x="166751" y="77064"/>
                  </a:cubicBezTo>
                  <a:cubicBezTo>
                    <a:pt x="166846" y="76111"/>
                    <a:pt x="166846" y="75254"/>
                    <a:pt x="167513" y="74397"/>
                  </a:cubicBezTo>
                  <a:cubicBezTo>
                    <a:pt x="172371" y="68491"/>
                    <a:pt x="171704" y="61157"/>
                    <a:pt x="173228" y="54299"/>
                  </a:cubicBezTo>
                  <a:cubicBezTo>
                    <a:pt x="175228" y="45727"/>
                    <a:pt x="174752" y="37249"/>
                    <a:pt x="175609" y="28772"/>
                  </a:cubicBezTo>
                  <a:cubicBezTo>
                    <a:pt x="176276" y="21628"/>
                    <a:pt x="177991" y="14294"/>
                    <a:pt x="175609" y="7055"/>
                  </a:cubicBezTo>
                  <a:cubicBezTo>
                    <a:pt x="175228" y="5912"/>
                    <a:pt x="175324" y="4960"/>
                    <a:pt x="176371" y="4864"/>
                  </a:cubicBezTo>
                  <a:cubicBezTo>
                    <a:pt x="178943" y="4674"/>
                    <a:pt x="178276" y="4102"/>
                    <a:pt x="177419" y="2293"/>
                  </a:cubicBezTo>
                  <a:cubicBezTo>
                    <a:pt x="176752" y="769"/>
                    <a:pt x="178467" y="102"/>
                    <a:pt x="180086" y="7"/>
                  </a:cubicBezTo>
                  <a:cubicBezTo>
                    <a:pt x="184372" y="-184"/>
                    <a:pt x="188468" y="3721"/>
                    <a:pt x="187325" y="7817"/>
                  </a:cubicBezTo>
                  <a:cubicBezTo>
                    <a:pt x="185325" y="14675"/>
                    <a:pt x="187611" y="21152"/>
                    <a:pt x="188373" y="27629"/>
                  </a:cubicBezTo>
                  <a:cubicBezTo>
                    <a:pt x="189516" y="37535"/>
                    <a:pt x="192850" y="47060"/>
                    <a:pt x="195802" y="56490"/>
                  </a:cubicBezTo>
                  <a:cubicBezTo>
                    <a:pt x="197898" y="63062"/>
                    <a:pt x="200279" y="69539"/>
                    <a:pt x="204089" y="75635"/>
                  </a:cubicBezTo>
                  <a:cubicBezTo>
                    <a:pt x="206566" y="79636"/>
                    <a:pt x="206470" y="85732"/>
                    <a:pt x="208852" y="90494"/>
                  </a:cubicBezTo>
                  <a:cubicBezTo>
                    <a:pt x="213900" y="100114"/>
                    <a:pt x="219710" y="109163"/>
                    <a:pt x="225997" y="117926"/>
                  </a:cubicBezTo>
                  <a:cubicBezTo>
                    <a:pt x="232855" y="127546"/>
                    <a:pt x="241618" y="135547"/>
                    <a:pt x="249428" y="144406"/>
                  </a:cubicBezTo>
                  <a:cubicBezTo>
                    <a:pt x="253524" y="148978"/>
                    <a:pt x="258382" y="153169"/>
                    <a:pt x="263620" y="156312"/>
                  </a:cubicBezTo>
                  <a:cubicBezTo>
                    <a:pt x="267621" y="158788"/>
                    <a:pt x="271336" y="161646"/>
                    <a:pt x="274765" y="164599"/>
                  </a:cubicBezTo>
                  <a:cubicBezTo>
                    <a:pt x="281718" y="170695"/>
                    <a:pt x="290386" y="173647"/>
                    <a:pt x="298196" y="178029"/>
                  </a:cubicBezTo>
                  <a:cubicBezTo>
                    <a:pt x="305054" y="181839"/>
                    <a:pt x="311817" y="185935"/>
                    <a:pt x="319342" y="188506"/>
                  </a:cubicBezTo>
                  <a:cubicBezTo>
                    <a:pt x="328390" y="191459"/>
                    <a:pt x="336963" y="195650"/>
                    <a:pt x="345726" y="199079"/>
                  </a:cubicBezTo>
                  <a:cubicBezTo>
                    <a:pt x="356203" y="203175"/>
                    <a:pt x="367252" y="205842"/>
                    <a:pt x="377635" y="210509"/>
                  </a:cubicBezTo>
                  <a:cubicBezTo>
                    <a:pt x="380206" y="211652"/>
                    <a:pt x="380302" y="214129"/>
                    <a:pt x="381730" y="215843"/>
                  </a:cubicBezTo>
                  <a:cubicBezTo>
                    <a:pt x="383254" y="217558"/>
                    <a:pt x="381159" y="219177"/>
                    <a:pt x="379635" y="220987"/>
                  </a:cubicBezTo>
                  <a:cubicBezTo>
                    <a:pt x="378397" y="222511"/>
                    <a:pt x="376968" y="224511"/>
                    <a:pt x="375730" y="226321"/>
                  </a:cubicBezTo>
                  <a:cubicBezTo>
                    <a:pt x="374396" y="228321"/>
                    <a:pt x="372205" y="229083"/>
                    <a:pt x="370110" y="229273"/>
                  </a:cubicBezTo>
                  <a:cubicBezTo>
                    <a:pt x="364966" y="229845"/>
                    <a:pt x="360204" y="231845"/>
                    <a:pt x="355060" y="232607"/>
                  </a:cubicBezTo>
                  <a:cubicBezTo>
                    <a:pt x="352298" y="232988"/>
                    <a:pt x="349726" y="235274"/>
                    <a:pt x="346964" y="236608"/>
                  </a:cubicBezTo>
                  <a:cubicBezTo>
                    <a:pt x="339154" y="240418"/>
                    <a:pt x="330676" y="242894"/>
                    <a:pt x="322961" y="246990"/>
                  </a:cubicBezTo>
                  <a:cubicBezTo>
                    <a:pt x="311436" y="253086"/>
                    <a:pt x="299625" y="258610"/>
                    <a:pt x="288671" y="265849"/>
                  </a:cubicBezTo>
                  <a:cubicBezTo>
                    <a:pt x="281718" y="270517"/>
                    <a:pt x="274479" y="274803"/>
                    <a:pt x="267907" y="279946"/>
                  </a:cubicBezTo>
                  <a:cubicBezTo>
                    <a:pt x="257143" y="288328"/>
                    <a:pt x="245904" y="296234"/>
                    <a:pt x="237998" y="307855"/>
                  </a:cubicBezTo>
                  <a:cubicBezTo>
                    <a:pt x="234379" y="313189"/>
                    <a:pt x="229045" y="317284"/>
                    <a:pt x="225330" y="322714"/>
                  </a:cubicBezTo>
                  <a:cubicBezTo>
                    <a:pt x="215995" y="336144"/>
                    <a:pt x="207423" y="349765"/>
                    <a:pt x="200660" y="364814"/>
                  </a:cubicBezTo>
                  <a:cubicBezTo>
                    <a:pt x="195707" y="375958"/>
                    <a:pt x="191897" y="387484"/>
                    <a:pt x="187135" y="398628"/>
                  </a:cubicBezTo>
                  <a:cubicBezTo>
                    <a:pt x="186563" y="399866"/>
                    <a:pt x="186182" y="401390"/>
                    <a:pt x="186277" y="402724"/>
                  </a:cubicBezTo>
                  <a:cubicBezTo>
                    <a:pt x="186658" y="406915"/>
                    <a:pt x="183515" y="409486"/>
                    <a:pt x="181896" y="412725"/>
                  </a:cubicBezTo>
                  <a:cubicBezTo>
                    <a:pt x="181515" y="413582"/>
                    <a:pt x="180562" y="413487"/>
                    <a:pt x="179896" y="413011"/>
                  </a:cubicBezTo>
                  <a:cubicBezTo>
                    <a:pt x="178753" y="412058"/>
                    <a:pt x="177895" y="410629"/>
                    <a:pt x="176086" y="412439"/>
                  </a:cubicBezTo>
                  <a:cubicBezTo>
                    <a:pt x="175038" y="413582"/>
                    <a:pt x="175133" y="411868"/>
                    <a:pt x="175038" y="411391"/>
                  </a:cubicBezTo>
                  <a:cubicBezTo>
                    <a:pt x="174371" y="408820"/>
                    <a:pt x="174847" y="406438"/>
                    <a:pt x="175038" y="403771"/>
                  </a:cubicBezTo>
                  <a:cubicBezTo>
                    <a:pt x="175705" y="397199"/>
                    <a:pt x="180181" y="390436"/>
                    <a:pt x="173800" y="383769"/>
                  </a:cubicBezTo>
                  <a:cubicBezTo>
                    <a:pt x="171133" y="381007"/>
                    <a:pt x="171514" y="375577"/>
                    <a:pt x="170275" y="371386"/>
                  </a:cubicBezTo>
                  <a:cubicBezTo>
                    <a:pt x="168370" y="365195"/>
                    <a:pt x="168085" y="358718"/>
                    <a:pt x="165703" y="352527"/>
                  </a:cubicBezTo>
                  <a:cubicBezTo>
                    <a:pt x="161608" y="341954"/>
                    <a:pt x="156940" y="331762"/>
                    <a:pt x="152749" y="321285"/>
                  </a:cubicBezTo>
                  <a:cubicBezTo>
                    <a:pt x="145606" y="303473"/>
                    <a:pt x="134842" y="288138"/>
                    <a:pt x="122269" y="274041"/>
                  </a:cubicBezTo>
                  <a:cubicBezTo>
                    <a:pt x="115126" y="265945"/>
                    <a:pt x="107029" y="258610"/>
                    <a:pt x="97219" y="253276"/>
                  </a:cubicBezTo>
                  <a:cubicBezTo>
                    <a:pt x="93218" y="251086"/>
                    <a:pt x="89313" y="248609"/>
                    <a:pt x="85027" y="247276"/>
                  </a:cubicBezTo>
                  <a:cubicBezTo>
                    <a:pt x="81693" y="246228"/>
                    <a:pt x="78454" y="245466"/>
                    <a:pt x="76359" y="242418"/>
                  </a:cubicBezTo>
                  <a:cubicBezTo>
                    <a:pt x="75978" y="241846"/>
                    <a:pt x="75406" y="240703"/>
                    <a:pt x="74930" y="242418"/>
                  </a:cubicBezTo>
                  <a:cubicBezTo>
                    <a:pt x="74168" y="244799"/>
                    <a:pt x="72835" y="243085"/>
                    <a:pt x="71977" y="242799"/>
                  </a:cubicBezTo>
                  <a:cubicBezTo>
                    <a:pt x="69120" y="241561"/>
                    <a:pt x="66358" y="240418"/>
                    <a:pt x="63119" y="240322"/>
                  </a:cubicBezTo>
                  <a:cubicBezTo>
                    <a:pt x="61595" y="240322"/>
                    <a:pt x="61786" y="238513"/>
                    <a:pt x="61119" y="237465"/>
                  </a:cubicBezTo>
                  <a:cubicBezTo>
                    <a:pt x="60357" y="236227"/>
                    <a:pt x="59881" y="234131"/>
                    <a:pt x="58071" y="234512"/>
                  </a:cubicBezTo>
                  <a:cubicBezTo>
                    <a:pt x="52451" y="235655"/>
                    <a:pt x="47498" y="233083"/>
                    <a:pt x="42164" y="232417"/>
                  </a:cubicBezTo>
                  <a:cubicBezTo>
                    <a:pt x="40640" y="232226"/>
                    <a:pt x="39402" y="232798"/>
                    <a:pt x="38640" y="230607"/>
                  </a:cubicBezTo>
                  <a:cubicBezTo>
                    <a:pt x="38259" y="229559"/>
                    <a:pt x="35687" y="228797"/>
                    <a:pt x="34544" y="229940"/>
                  </a:cubicBezTo>
                  <a:cubicBezTo>
                    <a:pt x="33020" y="231369"/>
                    <a:pt x="31687" y="231178"/>
                    <a:pt x="30448" y="230321"/>
                  </a:cubicBezTo>
                  <a:cubicBezTo>
                    <a:pt x="28734" y="229178"/>
                    <a:pt x="27877" y="228988"/>
                    <a:pt x="27305" y="231274"/>
                  </a:cubicBezTo>
                  <a:cubicBezTo>
                    <a:pt x="27115" y="232131"/>
                    <a:pt x="25591" y="233083"/>
                    <a:pt x="25114" y="232321"/>
                  </a:cubicBezTo>
                  <a:cubicBezTo>
                    <a:pt x="22733" y="229178"/>
                    <a:pt x="20352" y="230607"/>
                    <a:pt x="17685" y="231845"/>
                  </a:cubicBezTo>
                  <a:cubicBezTo>
                    <a:pt x="15589" y="232798"/>
                    <a:pt x="14065" y="232131"/>
                    <a:pt x="13494" y="229750"/>
                  </a:cubicBezTo>
                  <a:cubicBezTo>
                    <a:pt x="12065" y="228988"/>
                    <a:pt x="11208" y="230607"/>
                    <a:pt x="9874" y="230607"/>
                  </a:cubicBezTo>
                  <a:cubicBezTo>
                    <a:pt x="8922" y="229654"/>
                    <a:pt x="5398" y="232607"/>
                    <a:pt x="6541" y="228130"/>
                  </a:cubicBezTo>
                  <a:cubicBezTo>
                    <a:pt x="7017" y="226225"/>
                    <a:pt x="4064" y="227273"/>
                    <a:pt x="2826" y="226416"/>
                  </a:cubicBezTo>
                  <a:cubicBezTo>
                    <a:pt x="1873" y="225749"/>
                    <a:pt x="445" y="225940"/>
                    <a:pt x="64" y="224320"/>
                  </a:cubicBezTo>
                  <a:cubicBezTo>
                    <a:pt x="-317" y="222701"/>
                    <a:pt x="1111" y="222415"/>
                    <a:pt x="1778" y="222034"/>
                  </a:cubicBezTo>
                  <a:cubicBezTo>
                    <a:pt x="5874" y="219939"/>
                    <a:pt x="6160" y="215367"/>
                    <a:pt x="7017" y="211938"/>
                  </a:cubicBezTo>
                  <a:cubicBezTo>
                    <a:pt x="7874" y="208890"/>
                    <a:pt x="9779" y="209080"/>
                    <a:pt x="10732" y="209366"/>
                  </a:cubicBezTo>
                  <a:cubicBezTo>
                    <a:pt x="17018" y="210795"/>
                    <a:pt x="22733" y="209080"/>
                    <a:pt x="28448" y="206699"/>
                  </a:cubicBezTo>
                  <a:cubicBezTo>
                    <a:pt x="29782" y="206032"/>
                    <a:pt x="32068" y="208033"/>
                    <a:pt x="32544" y="205175"/>
                  </a:cubicBezTo>
                </a:path>
              </a:pathLst>
            </a:custGeom>
            <a:solidFill>
              <a:srgbClr val="4FE2F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132" name="Picture 1131">
            <a:extLst>
              <a:ext uri="{FF2B5EF4-FFF2-40B4-BE49-F238E27FC236}">
                <a16:creationId xmlns:a16="http://schemas.microsoft.com/office/drawing/2014/main" id="{6D50278D-F11A-E3AA-4D1B-C98395A5505C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 flipV="1">
            <a:off x="11108585" y="5774583"/>
            <a:ext cx="1066800" cy="110003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0EF5273-2757-0EC6-2D29-37DD8ECC1A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0A3BB78-E1A4-A9BC-C2B2-833C105E6074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EE3F35-5EAA-0344-B6FC-083E415BACD9}" type="slidenum">
              <a:rPr kumimoji="0" lang="en-US" sz="700" b="0" i="0" u="none" strike="noStrike" kern="1200" cap="none" spc="30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302E74-5557-1588-2862-05680015F44A}"/>
              </a:ext>
            </a:extLst>
          </p:cNvPr>
          <p:cNvSpPr/>
          <p:nvPr/>
        </p:nvSpPr>
        <p:spPr>
          <a:xfrm>
            <a:off x="967826" y="2071704"/>
            <a:ext cx="1889720" cy="1803347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1F8E5BA-C866-CA0A-773C-3E68023A18C7}"/>
              </a:ext>
            </a:extLst>
          </p:cNvPr>
          <p:cNvGraphicFramePr/>
          <p:nvPr/>
        </p:nvGraphicFramePr>
        <p:xfrm>
          <a:off x="960896" y="1523476"/>
          <a:ext cx="10044982" cy="4858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87D3632-9221-5C80-62DC-692D2CEFB2D0}"/>
              </a:ext>
            </a:extLst>
          </p:cNvPr>
          <p:cNvSpPr txBox="1"/>
          <p:nvPr/>
        </p:nvSpPr>
        <p:spPr>
          <a:xfrm>
            <a:off x="1042694" y="3937459"/>
            <a:ext cx="1812329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bg1"/>
                </a:solidFill>
              </a:rPr>
              <a:t>Align if customer needs personal cups or shared cups/tumblers? 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bg1"/>
                </a:solidFill>
              </a:rPr>
              <a:t>Determine # of reusable assets need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877453-8AC4-0235-A8F3-C16A8FE1F0E1}"/>
              </a:ext>
            </a:extLst>
          </p:cNvPr>
          <p:cNvSpPr txBox="1"/>
          <p:nvPr/>
        </p:nvSpPr>
        <p:spPr>
          <a:xfrm>
            <a:off x="3076627" y="3943198"/>
            <a:ext cx="1688518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2713" indent="-112713">
              <a:spcAft>
                <a:spcPts val="600"/>
              </a:spcAft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ecide if wash on-site or hire a third-party service is best?</a:t>
            </a:r>
          </a:p>
          <a:p>
            <a:r>
              <a:rPr lang="en-US"/>
              <a:t>Determine any additional  staffing need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9AE37EA-D9FC-EE8A-8DD1-5A63148A57E9}"/>
              </a:ext>
            </a:extLst>
          </p:cNvPr>
          <p:cNvSpPr txBox="1"/>
          <p:nvPr/>
        </p:nvSpPr>
        <p:spPr>
          <a:xfrm>
            <a:off x="4977151" y="3937459"/>
            <a:ext cx="1696756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2713" indent="-112713">
              <a:spcAft>
                <a:spcPts val="600"/>
              </a:spcAft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Order cups &amp; any food ware if including</a:t>
            </a:r>
          </a:p>
          <a:p>
            <a:r>
              <a:rPr lang="en-US"/>
              <a:t>Order bus tubs or dedicated return bins</a:t>
            </a:r>
          </a:p>
          <a:p>
            <a:r>
              <a:rPr lang="en-US"/>
              <a:t>If needed, order dish &amp; drying racks</a:t>
            </a:r>
          </a:p>
          <a:p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3724CE-D9F0-EB95-5049-1C7BCF467A75}"/>
              </a:ext>
            </a:extLst>
          </p:cNvPr>
          <p:cNvSpPr txBox="1"/>
          <p:nvPr/>
        </p:nvSpPr>
        <p:spPr>
          <a:xfrm>
            <a:off x="6940361" y="3937459"/>
            <a:ext cx="1809133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2713" indent="-112713">
              <a:spcAft>
                <a:spcPts val="600"/>
              </a:spcAft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Educate all staff handling reusables</a:t>
            </a:r>
          </a:p>
          <a:p>
            <a:r>
              <a:rPr lang="en-US"/>
              <a:t>Include 3rd party janitorial and event teams in training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9D668B-BE3C-7648-74E0-B4F61D6979CC}"/>
              </a:ext>
            </a:extLst>
          </p:cNvPr>
          <p:cNvSpPr/>
          <p:nvPr/>
        </p:nvSpPr>
        <p:spPr>
          <a:xfrm>
            <a:off x="8847131" y="3875054"/>
            <a:ext cx="1891536" cy="2083788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6D0ECD2-8A09-EF0E-83CB-9870CC3E9E07}"/>
              </a:ext>
            </a:extLst>
          </p:cNvPr>
          <p:cNvSpPr txBox="1"/>
          <p:nvPr/>
        </p:nvSpPr>
        <p:spPr>
          <a:xfrm>
            <a:off x="8888012" y="3942221"/>
            <a:ext cx="181178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2713" indent="-112713">
              <a:spcAft>
                <a:spcPts val="600"/>
              </a:spcAft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Dedicate collection points for reusables</a:t>
            </a:r>
          </a:p>
          <a:p>
            <a:r>
              <a:rPr lang="en-US"/>
              <a:t>Hang information signage for consumers &amp; staff</a:t>
            </a:r>
          </a:p>
        </p:txBody>
      </p:sp>
      <p:pic>
        <p:nvPicPr>
          <p:cNvPr id="17" name="Picture 16" descr="A poster of a drink&#10;&#10;Description automatically generated">
            <a:extLst>
              <a:ext uri="{FF2B5EF4-FFF2-40B4-BE49-F238E27FC236}">
                <a16:creationId xmlns:a16="http://schemas.microsoft.com/office/drawing/2014/main" id="{E4CB69F2-8364-C868-86E5-FB0E45E55809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70" t="6244" r="-316" b="21202"/>
          <a:stretch/>
        </p:blipFill>
        <p:spPr>
          <a:xfrm>
            <a:off x="6866551" y="2078970"/>
            <a:ext cx="1924777" cy="180061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2E051C9-BAFC-8FEB-85FA-0B36084CAF12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944" r="21531"/>
          <a:stretch/>
        </p:blipFill>
        <p:spPr>
          <a:xfrm>
            <a:off x="1270853" y="2079265"/>
            <a:ext cx="781026" cy="164338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A8A3101-9C4C-2E65-E3E6-FB44F1330F16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64162" b="6537"/>
          <a:stretch/>
        </p:blipFill>
        <p:spPr>
          <a:xfrm>
            <a:off x="1871663" y="2081879"/>
            <a:ext cx="853876" cy="1631360"/>
          </a:xfrm>
          <a:prstGeom prst="rect">
            <a:avLst/>
          </a:prstGeom>
        </p:spPr>
      </p:pic>
      <p:pic>
        <p:nvPicPr>
          <p:cNvPr id="20" name="Picture 19" descr="A blue trash can with a sign and a container on top&#10;&#10;Description automatically generated">
            <a:extLst>
              <a:ext uri="{FF2B5EF4-FFF2-40B4-BE49-F238E27FC236}">
                <a16:creationId xmlns:a16="http://schemas.microsoft.com/office/drawing/2014/main" id="{E2081FA2-375D-FE78-D030-BC5D5733052D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76" t="1004" r="21238" b="1676"/>
          <a:stretch/>
        </p:blipFill>
        <p:spPr>
          <a:xfrm>
            <a:off x="8847130" y="2078970"/>
            <a:ext cx="1891537" cy="180061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35F376B-E444-42EF-3AAF-C4079D1E60CE}"/>
              </a:ext>
            </a:extLst>
          </p:cNvPr>
          <p:cNvSpPr/>
          <p:nvPr/>
        </p:nvSpPr>
        <p:spPr>
          <a:xfrm>
            <a:off x="6876531" y="3875053"/>
            <a:ext cx="1891536" cy="2083788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801B493-58CB-B0BC-EC0E-AC10FB6BFE40}"/>
              </a:ext>
            </a:extLst>
          </p:cNvPr>
          <p:cNvSpPr/>
          <p:nvPr/>
        </p:nvSpPr>
        <p:spPr>
          <a:xfrm>
            <a:off x="4903092" y="3875053"/>
            <a:ext cx="1891536" cy="2083788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CEF6ACD-F1D2-6905-93ED-D0328820A450}"/>
              </a:ext>
            </a:extLst>
          </p:cNvPr>
          <p:cNvSpPr/>
          <p:nvPr/>
        </p:nvSpPr>
        <p:spPr>
          <a:xfrm>
            <a:off x="2930032" y="3875053"/>
            <a:ext cx="1891536" cy="2083788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126615D-3A8E-9454-B9C6-DC105E4AFD71}"/>
              </a:ext>
            </a:extLst>
          </p:cNvPr>
          <p:cNvSpPr/>
          <p:nvPr/>
        </p:nvSpPr>
        <p:spPr>
          <a:xfrm>
            <a:off x="968390" y="3875052"/>
            <a:ext cx="1882251" cy="20837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ABB815B-484D-E1CE-8E04-0F66321DE865}"/>
              </a:ext>
            </a:extLst>
          </p:cNvPr>
          <p:cNvSpPr/>
          <p:nvPr/>
        </p:nvSpPr>
        <p:spPr>
          <a:xfrm>
            <a:off x="2929469" y="2071704"/>
            <a:ext cx="1891536" cy="1791902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26" name="Picture 25" descr="A large advertisement on a stand&#10;&#10;Description automatically generated with medium confidence">
            <a:extLst>
              <a:ext uri="{FF2B5EF4-FFF2-40B4-BE49-F238E27FC236}">
                <a16:creationId xmlns:a16="http://schemas.microsoft.com/office/drawing/2014/main" id="{5F36CC05-E831-A98F-82A1-66A7133656A5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056" t="-361" r="5894" b="-490"/>
          <a:stretch/>
        </p:blipFill>
        <p:spPr>
          <a:xfrm rot="5400000">
            <a:off x="4956690" y="2020991"/>
            <a:ext cx="1796078" cy="1912039"/>
          </a:xfrm>
          <a:prstGeom prst="rect">
            <a:avLst/>
          </a:prstGeom>
        </p:spPr>
      </p:pic>
      <p:pic>
        <p:nvPicPr>
          <p:cNvPr id="27" name="Picture 26" descr="A dishwasher with plates in it&#10;&#10;Description automatically generated">
            <a:extLst>
              <a:ext uri="{FF2B5EF4-FFF2-40B4-BE49-F238E27FC236}">
                <a16:creationId xmlns:a16="http://schemas.microsoft.com/office/drawing/2014/main" id="{7AD5981A-FF95-00F7-F7CD-1E6EE5C3ACC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4864" y="2160768"/>
            <a:ext cx="1852043" cy="162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353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A7D80279-BED8-187C-64BB-169E03ED98BA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143F7D2-1A74-08C6-C4FC-B3EEC7C82557}"/>
              </a:ext>
            </a:extLst>
          </p:cNvPr>
          <p:cNvSpPr/>
          <p:nvPr/>
        </p:nvSpPr>
        <p:spPr>
          <a:xfrm>
            <a:off x="0" y="0"/>
            <a:ext cx="12192000" cy="1683658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AA6D23-ACE2-D35A-97AC-49566FD188AA}"/>
              </a:ext>
            </a:extLst>
          </p:cNvPr>
          <p:cNvSpPr/>
          <p:nvPr/>
        </p:nvSpPr>
        <p:spPr>
          <a:xfrm flipH="1">
            <a:off x="2162629" y="380164"/>
            <a:ext cx="7866742" cy="92333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MMERCIAL SUSTAINABILITY CONTACTS</a:t>
            </a:r>
            <a:br>
              <a:rPr lang="en-US" sz="3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en-US" sz="3000" b="1" i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LET’S PARTNER!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8BC78AF9-8DD3-68A5-1606-A267F4B588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5754914"/>
            <a:ext cx="1069760" cy="1103086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2F4ACD1-D8C4-35A7-BD86-9F462A0851C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0002" y="5791275"/>
            <a:ext cx="1051998" cy="1066725"/>
          </a:xfrm>
          <a:prstGeom prst="rect">
            <a:avLst/>
          </a:prstGeom>
        </p:spPr>
      </p:pic>
      <p:grpSp>
        <p:nvGrpSpPr>
          <p:cNvPr id="75" name="Group 74">
            <a:extLst>
              <a:ext uri="{FF2B5EF4-FFF2-40B4-BE49-F238E27FC236}">
                <a16:creationId xmlns:a16="http://schemas.microsoft.com/office/drawing/2014/main" id="{68CDC209-6B81-9B55-D092-4B797B0B5729}"/>
              </a:ext>
            </a:extLst>
          </p:cNvPr>
          <p:cNvGrpSpPr/>
          <p:nvPr/>
        </p:nvGrpSpPr>
        <p:grpSpPr>
          <a:xfrm flipV="1">
            <a:off x="11139720" y="0"/>
            <a:ext cx="1052280" cy="1052288"/>
            <a:chOff x="11139721" y="5805713"/>
            <a:chExt cx="1052280" cy="1052288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5FD6B2F-BECF-CC2E-78D3-004C2BB26120}"/>
                </a:ext>
              </a:extLst>
            </p:cNvPr>
            <p:cNvSpPr/>
            <p:nvPr/>
          </p:nvSpPr>
          <p:spPr>
            <a:xfrm>
              <a:off x="11139721" y="5805713"/>
              <a:ext cx="1052280" cy="1052288"/>
            </a:xfrm>
            <a:custGeom>
              <a:avLst/>
              <a:gdLst>
                <a:gd name="connsiteX0" fmla="*/ 1052280 w 1052280"/>
                <a:gd name="connsiteY0" fmla="*/ 0 h 1052288"/>
                <a:gd name="connsiteX1" fmla="*/ 1052280 w 1052280"/>
                <a:gd name="connsiteY1" fmla="*/ 1052288 h 1052288"/>
                <a:gd name="connsiteX2" fmla="*/ 0 w 1052280"/>
                <a:gd name="connsiteY2" fmla="*/ 1052288 h 1052288"/>
                <a:gd name="connsiteX3" fmla="*/ 1052280 w 1052280"/>
                <a:gd name="connsiteY3" fmla="*/ 0 h 105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2280" h="1052288">
                  <a:moveTo>
                    <a:pt x="1052280" y="0"/>
                  </a:moveTo>
                  <a:lnTo>
                    <a:pt x="1052280" y="1052288"/>
                  </a:lnTo>
                  <a:lnTo>
                    <a:pt x="0" y="1052288"/>
                  </a:lnTo>
                  <a:cubicBezTo>
                    <a:pt x="581125" y="1052288"/>
                    <a:pt x="1052280" y="581130"/>
                    <a:pt x="1052280" y="0"/>
                  </a:cubicBezTo>
                  <a:close/>
                </a:path>
              </a:pathLst>
            </a:custGeom>
            <a:solidFill>
              <a:srgbClr val="8EDC43"/>
            </a:solidFill>
            <a:ln w="17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D999CCA-8EB1-5044-FE53-AE19FB57F521}"/>
                </a:ext>
              </a:extLst>
            </p:cNvPr>
            <p:cNvGrpSpPr/>
            <p:nvPr/>
          </p:nvGrpSpPr>
          <p:grpSpPr>
            <a:xfrm>
              <a:off x="11342613" y="6117099"/>
              <a:ext cx="490943" cy="497085"/>
              <a:chOff x="10732103" y="6210946"/>
              <a:chExt cx="1006277" cy="1018869"/>
            </a:xfrm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6274E7A6-AAD1-9EED-E781-46F2DAC51FFC}"/>
                  </a:ext>
                </a:extLst>
              </p:cNvPr>
              <p:cNvSpPr/>
              <p:nvPr/>
            </p:nvSpPr>
            <p:spPr>
              <a:xfrm>
                <a:off x="10738446" y="6777435"/>
                <a:ext cx="368617" cy="452380"/>
              </a:xfrm>
              <a:custGeom>
                <a:avLst/>
                <a:gdLst>
                  <a:gd name="connsiteX0" fmla="*/ 368618 w 368617"/>
                  <a:gd name="connsiteY0" fmla="*/ 257842 h 452380"/>
                  <a:gd name="connsiteX1" fmla="*/ 367951 w 368617"/>
                  <a:gd name="connsiteY1" fmla="*/ 245459 h 452380"/>
                  <a:gd name="connsiteX2" fmla="*/ 366808 w 368617"/>
                  <a:gd name="connsiteY2" fmla="*/ 241745 h 452380"/>
                  <a:gd name="connsiteX3" fmla="*/ 365284 w 368617"/>
                  <a:gd name="connsiteY3" fmla="*/ 238601 h 452380"/>
                  <a:gd name="connsiteX4" fmla="*/ 362426 w 368617"/>
                  <a:gd name="connsiteY4" fmla="*/ 228124 h 452380"/>
                  <a:gd name="connsiteX5" fmla="*/ 353854 w 368617"/>
                  <a:gd name="connsiteY5" fmla="*/ 222028 h 452380"/>
                  <a:gd name="connsiteX6" fmla="*/ 339281 w 368617"/>
                  <a:gd name="connsiteY6" fmla="*/ 213360 h 452380"/>
                  <a:gd name="connsiteX7" fmla="*/ 332708 w 368617"/>
                  <a:gd name="connsiteY7" fmla="*/ 210979 h 452380"/>
                  <a:gd name="connsiteX8" fmla="*/ 324517 w 368617"/>
                  <a:gd name="connsiteY8" fmla="*/ 208312 h 452380"/>
                  <a:gd name="connsiteX9" fmla="*/ 323183 w 368617"/>
                  <a:gd name="connsiteY9" fmla="*/ 206121 h 452380"/>
                  <a:gd name="connsiteX10" fmla="*/ 318707 w 368617"/>
                  <a:gd name="connsiteY10" fmla="*/ 205073 h 452380"/>
                  <a:gd name="connsiteX11" fmla="*/ 309944 w 368617"/>
                  <a:gd name="connsiteY11" fmla="*/ 202502 h 452380"/>
                  <a:gd name="connsiteX12" fmla="*/ 308800 w 368617"/>
                  <a:gd name="connsiteY12" fmla="*/ 202692 h 452380"/>
                  <a:gd name="connsiteX13" fmla="*/ 304705 w 368617"/>
                  <a:gd name="connsiteY13" fmla="*/ 203930 h 452380"/>
                  <a:gd name="connsiteX14" fmla="*/ 303086 w 368617"/>
                  <a:gd name="connsiteY14" fmla="*/ 202787 h 452380"/>
                  <a:gd name="connsiteX15" fmla="*/ 297370 w 368617"/>
                  <a:gd name="connsiteY15" fmla="*/ 199358 h 452380"/>
                  <a:gd name="connsiteX16" fmla="*/ 289274 w 368617"/>
                  <a:gd name="connsiteY16" fmla="*/ 197644 h 452380"/>
                  <a:gd name="connsiteX17" fmla="*/ 282797 w 368617"/>
                  <a:gd name="connsiteY17" fmla="*/ 197644 h 452380"/>
                  <a:gd name="connsiteX18" fmla="*/ 278701 w 368617"/>
                  <a:gd name="connsiteY18" fmla="*/ 195929 h 452380"/>
                  <a:gd name="connsiteX19" fmla="*/ 277940 w 368617"/>
                  <a:gd name="connsiteY19" fmla="*/ 200692 h 452380"/>
                  <a:gd name="connsiteX20" fmla="*/ 275558 w 368617"/>
                  <a:gd name="connsiteY20" fmla="*/ 195453 h 452380"/>
                  <a:gd name="connsiteX21" fmla="*/ 272606 w 368617"/>
                  <a:gd name="connsiteY21" fmla="*/ 198025 h 452380"/>
                  <a:gd name="connsiteX22" fmla="*/ 260223 w 368617"/>
                  <a:gd name="connsiteY22" fmla="*/ 197453 h 452380"/>
                  <a:gd name="connsiteX23" fmla="*/ 249555 w 368617"/>
                  <a:gd name="connsiteY23" fmla="*/ 197072 h 452380"/>
                  <a:gd name="connsiteX24" fmla="*/ 238411 w 368617"/>
                  <a:gd name="connsiteY24" fmla="*/ 199263 h 452380"/>
                  <a:gd name="connsiteX25" fmla="*/ 238316 w 368617"/>
                  <a:gd name="connsiteY25" fmla="*/ 198787 h 452380"/>
                  <a:gd name="connsiteX26" fmla="*/ 236982 w 368617"/>
                  <a:gd name="connsiteY26" fmla="*/ 195548 h 452380"/>
                  <a:gd name="connsiteX27" fmla="*/ 237744 w 368617"/>
                  <a:gd name="connsiteY27" fmla="*/ 192596 h 452380"/>
                  <a:gd name="connsiteX28" fmla="*/ 248031 w 368617"/>
                  <a:gd name="connsiteY28" fmla="*/ 178498 h 452380"/>
                  <a:gd name="connsiteX29" fmla="*/ 259175 w 368617"/>
                  <a:gd name="connsiteY29" fmla="*/ 160782 h 452380"/>
                  <a:gd name="connsiteX30" fmla="*/ 260699 w 368617"/>
                  <a:gd name="connsiteY30" fmla="*/ 159829 h 452380"/>
                  <a:gd name="connsiteX31" fmla="*/ 262604 w 368617"/>
                  <a:gd name="connsiteY31" fmla="*/ 157829 h 452380"/>
                  <a:gd name="connsiteX32" fmla="*/ 265747 w 368617"/>
                  <a:gd name="connsiteY32" fmla="*/ 153734 h 452380"/>
                  <a:gd name="connsiteX33" fmla="*/ 270986 w 368617"/>
                  <a:gd name="connsiteY33" fmla="*/ 147542 h 452380"/>
                  <a:gd name="connsiteX34" fmla="*/ 274320 w 368617"/>
                  <a:gd name="connsiteY34" fmla="*/ 143066 h 452380"/>
                  <a:gd name="connsiteX35" fmla="*/ 276416 w 368617"/>
                  <a:gd name="connsiteY35" fmla="*/ 136398 h 452380"/>
                  <a:gd name="connsiteX36" fmla="*/ 277654 w 368617"/>
                  <a:gd name="connsiteY36" fmla="*/ 134207 h 452380"/>
                  <a:gd name="connsiteX37" fmla="*/ 287084 w 368617"/>
                  <a:gd name="connsiteY37" fmla="*/ 125349 h 452380"/>
                  <a:gd name="connsiteX38" fmla="*/ 292322 w 368617"/>
                  <a:gd name="connsiteY38" fmla="*/ 114491 h 452380"/>
                  <a:gd name="connsiteX39" fmla="*/ 294418 w 368617"/>
                  <a:gd name="connsiteY39" fmla="*/ 112681 h 452380"/>
                  <a:gd name="connsiteX40" fmla="*/ 300133 w 368617"/>
                  <a:gd name="connsiteY40" fmla="*/ 102108 h 452380"/>
                  <a:gd name="connsiteX41" fmla="*/ 300895 w 368617"/>
                  <a:gd name="connsiteY41" fmla="*/ 100870 h 452380"/>
                  <a:gd name="connsiteX42" fmla="*/ 307372 w 368617"/>
                  <a:gd name="connsiteY42" fmla="*/ 90488 h 452380"/>
                  <a:gd name="connsiteX43" fmla="*/ 315373 w 368617"/>
                  <a:gd name="connsiteY43" fmla="*/ 72676 h 452380"/>
                  <a:gd name="connsiteX44" fmla="*/ 321564 w 368617"/>
                  <a:gd name="connsiteY44" fmla="*/ 32480 h 452380"/>
                  <a:gd name="connsiteX45" fmla="*/ 315182 w 368617"/>
                  <a:gd name="connsiteY45" fmla="*/ 22003 h 452380"/>
                  <a:gd name="connsiteX46" fmla="*/ 301371 w 368617"/>
                  <a:gd name="connsiteY46" fmla="*/ 18193 h 452380"/>
                  <a:gd name="connsiteX47" fmla="*/ 300799 w 368617"/>
                  <a:gd name="connsiteY47" fmla="*/ 15907 h 452380"/>
                  <a:gd name="connsiteX48" fmla="*/ 293751 w 368617"/>
                  <a:gd name="connsiteY48" fmla="*/ 21527 h 452380"/>
                  <a:gd name="connsiteX49" fmla="*/ 287465 w 368617"/>
                  <a:gd name="connsiteY49" fmla="*/ 26860 h 452380"/>
                  <a:gd name="connsiteX50" fmla="*/ 276606 w 368617"/>
                  <a:gd name="connsiteY50" fmla="*/ 36671 h 452380"/>
                  <a:gd name="connsiteX51" fmla="*/ 270796 w 368617"/>
                  <a:gd name="connsiteY51" fmla="*/ 38005 h 452380"/>
                  <a:gd name="connsiteX52" fmla="*/ 269367 w 368617"/>
                  <a:gd name="connsiteY52" fmla="*/ 39148 h 452380"/>
                  <a:gd name="connsiteX53" fmla="*/ 268129 w 368617"/>
                  <a:gd name="connsiteY53" fmla="*/ 41815 h 452380"/>
                  <a:gd name="connsiteX54" fmla="*/ 256794 w 368617"/>
                  <a:gd name="connsiteY54" fmla="*/ 52673 h 452380"/>
                  <a:gd name="connsiteX55" fmla="*/ 241173 w 368617"/>
                  <a:gd name="connsiteY55" fmla="*/ 69056 h 452380"/>
                  <a:gd name="connsiteX56" fmla="*/ 234696 w 368617"/>
                  <a:gd name="connsiteY56" fmla="*/ 76010 h 452380"/>
                  <a:gd name="connsiteX57" fmla="*/ 233934 w 368617"/>
                  <a:gd name="connsiteY57" fmla="*/ 76581 h 452380"/>
                  <a:gd name="connsiteX58" fmla="*/ 227838 w 368617"/>
                  <a:gd name="connsiteY58" fmla="*/ 82010 h 452380"/>
                  <a:gd name="connsiteX59" fmla="*/ 212408 w 368617"/>
                  <a:gd name="connsiteY59" fmla="*/ 101346 h 452380"/>
                  <a:gd name="connsiteX60" fmla="*/ 204216 w 368617"/>
                  <a:gd name="connsiteY60" fmla="*/ 110109 h 452380"/>
                  <a:gd name="connsiteX61" fmla="*/ 190976 w 368617"/>
                  <a:gd name="connsiteY61" fmla="*/ 125254 h 452380"/>
                  <a:gd name="connsiteX62" fmla="*/ 184975 w 368617"/>
                  <a:gd name="connsiteY62" fmla="*/ 129254 h 452380"/>
                  <a:gd name="connsiteX63" fmla="*/ 181451 w 368617"/>
                  <a:gd name="connsiteY63" fmla="*/ 125158 h 452380"/>
                  <a:gd name="connsiteX64" fmla="*/ 180499 w 368617"/>
                  <a:gd name="connsiteY64" fmla="*/ 123349 h 452380"/>
                  <a:gd name="connsiteX65" fmla="*/ 165068 w 368617"/>
                  <a:gd name="connsiteY65" fmla="*/ 94393 h 452380"/>
                  <a:gd name="connsiteX66" fmla="*/ 161925 w 368617"/>
                  <a:gd name="connsiteY66" fmla="*/ 89725 h 452380"/>
                  <a:gd name="connsiteX67" fmla="*/ 153162 w 368617"/>
                  <a:gd name="connsiteY67" fmla="*/ 75819 h 452380"/>
                  <a:gd name="connsiteX68" fmla="*/ 153734 w 368617"/>
                  <a:gd name="connsiteY68" fmla="*/ 74962 h 452380"/>
                  <a:gd name="connsiteX69" fmla="*/ 152876 w 368617"/>
                  <a:gd name="connsiteY69" fmla="*/ 72771 h 452380"/>
                  <a:gd name="connsiteX70" fmla="*/ 145637 w 368617"/>
                  <a:gd name="connsiteY70" fmla="*/ 62484 h 452380"/>
                  <a:gd name="connsiteX71" fmla="*/ 141161 w 368617"/>
                  <a:gd name="connsiteY71" fmla="*/ 53531 h 452380"/>
                  <a:gd name="connsiteX72" fmla="*/ 132016 w 368617"/>
                  <a:gd name="connsiteY72" fmla="*/ 35719 h 452380"/>
                  <a:gd name="connsiteX73" fmla="*/ 127921 w 368617"/>
                  <a:gd name="connsiteY73" fmla="*/ 26194 h 452380"/>
                  <a:gd name="connsiteX74" fmla="*/ 127064 w 368617"/>
                  <a:gd name="connsiteY74" fmla="*/ 22384 h 452380"/>
                  <a:gd name="connsiteX75" fmla="*/ 119729 w 368617"/>
                  <a:gd name="connsiteY75" fmla="*/ 4286 h 452380"/>
                  <a:gd name="connsiteX76" fmla="*/ 117824 w 368617"/>
                  <a:gd name="connsiteY76" fmla="*/ 0 h 452380"/>
                  <a:gd name="connsiteX77" fmla="*/ 113062 w 368617"/>
                  <a:gd name="connsiteY77" fmla="*/ 2477 h 452380"/>
                  <a:gd name="connsiteX78" fmla="*/ 105061 w 368617"/>
                  <a:gd name="connsiteY78" fmla="*/ 15811 h 452380"/>
                  <a:gd name="connsiteX79" fmla="*/ 102108 w 368617"/>
                  <a:gd name="connsiteY79" fmla="*/ 20383 h 452380"/>
                  <a:gd name="connsiteX80" fmla="*/ 97726 w 368617"/>
                  <a:gd name="connsiteY80" fmla="*/ 26765 h 452380"/>
                  <a:gd name="connsiteX81" fmla="*/ 95345 w 368617"/>
                  <a:gd name="connsiteY81" fmla="*/ 37433 h 452380"/>
                  <a:gd name="connsiteX82" fmla="*/ 100013 w 368617"/>
                  <a:gd name="connsiteY82" fmla="*/ 53340 h 452380"/>
                  <a:gd name="connsiteX83" fmla="*/ 102299 w 368617"/>
                  <a:gd name="connsiteY83" fmla="*/ 58293 h 452380"/>
                  <a:gd name="connsiteX84" fmla="*/ 103918 w 368617"/>
                  <a:gd name="connsiteY84" fmla="*/ 60008 h 452380"/>
                  <a:gd name="connsiteX85" fmla="*/ 105156 w 368617"/>
                  <a:gd name="connsiteY85" fmla="*/ 72866 h 452380"/>
                  <a:gd name="connsiteX86" fmla="*/ 107251 w 368617"/>
                  <a:gd name="connsiteY86" fmla="*/ 80581 h 452380"/>
                  <a:gd name="connsiteX87" fmla="*/ 108299 w 368617"/>
                  <a:gd name="connsiteY87" fmla="*/ 83820 h 452380"/>
                  <a:gd name="connsiteX88" fmla="*/ 110014 w 368617"/>
                  <a:gd name="connsiteY88" fmla="*/ 101156 h 452380"/>
                  <a:gd name="connsiteX89" fmla="*/ 112776 w 368617"/>
                  <a:gd name="connsiteY89" fmla="*/ 114586 h 452380"/>
                  <a:gd name="connsiteX90" fmla="*/ 118872 w 368617"/>
                  <a:gd name="connsiteY90" fmla="*/ 142780 h 452380"/>
                  <a:gd name="connsiteX91" fmla="*/ 123444 w 368617"/>
                  <a:gd name="connsiteY91" fmla="*/ 160401 h 452380"/>
                  <a:gd name="connsiteX92" fmla="*/ 128492 w 368617"/>
                  <a:gd name="connsiteY92" fmla="*/ 178308 h 452380"/>
                  <a:gd name="connsiteX93" fmla="*/ 128492 w 368617"/>
                  <a:gd name="connsiteY93" fmla="*/ 182594 h 452380"/>
                  <a:gd name="connsiteX94" fmla="*/ 124587 w 368617"/>
                  <a:gd name="connsiteY94" fmla="*/ 183166 h 452380"/>
                  <a:gd name="connsiteX95" fmla="*/ 115633 w 368617"/>
                  <a:gd name="connsiteY95" fmla="*/ 179261 h 452380"/>
                  <a:gd name="connsiteX96" fmla="*/ 110204 w 368617"/>
                  <a:gd name="connsiteY96" fmla="*/ 175641 h 452380"/>
                  <a:gd name="connsiteX97" fmla="*/ 99251 w 368617"/>
                  <a:gd name="connsiteY97" fmla="*/ 171641 h 452380"/>
                  <a:gd name="connsiteX98" fmla="*/ 89726 w 368617"/>
                  <a:gd name="connsiteY98" fmla="*/ 169926 h 452380"/>
                  <a:gd name="connsiteX99" fmla="*/ 88582 w 368617"/>
                  <a:gd name="connsiteY99" fmla="*/ 170879 h 452380"/>
                  <a:gd name="connsiteX100" fmla="*/ 88011 w 368617"/>
                  <a:gd name="connsiteY100" fmla="*/ 168497 h 452380"/>
                  <a:gd name="connsiteX101" fmla="*/ 87535 w 368617"/>
                  <a:gd name="connsiteY101" fmla="*/ 171641 h 452380"/>
                  <a:gd name="connsiteX102" fmla="*/ 79915 w 368617"/>
                  <a:gd name="connsiteY102" fmla="*/ 169164 h 452380"/>
                  <a:gd name="connsiteX103" fmla="*/ 66675 w 368617"/>
                  <a:gd name="connsiteY103" fmla="*/ 166306 h 452380"/>
                  <a:gd name="connsiteX104" fmla="*/ 64579 w 368617"/>
                  <a:gd name="connsiteY104" fmla="*/ 165354 h 452380"/>
                  <a:gd name="connsiteX105" fmla="*/ 49339 w 368617"/>
                  <a:gd name="connsiteY105" fmla="*/ 167164 h 452380"/>
                  <a:gd name="connsiteX106" fmla="*/ 48863 w 368617"/>
                  <a:gd name="connsiteY106" fmla="*/ 167069 h 452380"/>
                  <a:gd name="connsiteX107" fmla="*/ 34576 w 368617"/>
                  <a:gd name="connsiteY107" fmla="*/ 166402 h 452380"/>
                  <a:gd name="connsiteX108" fmla="*/ 28289 w 368617"/>
                  <a:gd name="connsiteY108" fmla="*/ 168402 h 452380"/>
                  <a:gd name="connsiteX109" fmla="*/ 21431 w 368617"/>
                  <a:gd name="connsiteY109" fmla="*/ 173450 h 452380"/>
                  <a:gd name="connsiteX110" fmla="*/ 18097 w 368617"/>
                  <a:gd name="connsiteY110" fmla="*/ 171260 h 452380"/>
                  <a:gd name="connsiteX111" fmla="*/ 11716 w 368617"/>
                  <a:gd name="connsiteY111" fmla="*/ 173927 h 452380"/>
                  <a:gd name="connsiteX112" fmla="*/ 9430 w 368617"/>
                  <a:gd name="connsiteY112" fmla="*/ 178022 h 452380"/>
                  <a:gd name="connsiteX113" fmla="*/ 6953 w 368617"/>
                  <a:gd name="connsiteY113" fmla="*/ 186404 h 452380"/>
                  <a:gd name="connsiteX114" fmla="*/ 7239 w 368617"/>
                  <a:gd name="connsiteY114" fmla="*/ 190310 h 452380"/>
                  <a:gd name="connsiteX115" fmla="*/ 1143 w 368617"/>
                  <a:gd name="connsiteY115" fmla="*/ 203264 h 452380"/>
                  <a:gd name="connsiteX116" fmla="*/ 0 w 368617"/>
                  <a:gd name="connsiteY116" fmla="*/ 216789 h 452380"/>
                  <a:gd name="connsiteX117" fmla="*/ 571 w 368617"/>
                  <a:gd name="connsiteY117" fmla="*/ 217646 h 452380"/>
                  <a:gd name="connsiteX118" fmla="*/ 10001 w 368617"/>
                  <a:gd name="connsiteY118" fmla="*/ 221742 h 452380"/>
                  <a:gd name="connsiteX119" fmla="*/ 27718 w 368617"/>
                  <a:gd name="connsiteY119" fmla="*/ 227743 h 452380"/>
                  <a:gd name="connsiteX120" fmla="*/ 51054 w 368617"/>
                  <a:gd name="connsiteY120" fmla="*/ 236982 h 452380"/>
                  <a:gd name="connsiteX121" fmla="*/ 52959 w 368617"/>
                  <a:gd name="connsiteY121" fmla="*/ 236792 h 452380"/>
                  <a:gd name="connsiteX122" fmla="*/ 60293 w 368617"/>
                  <a:gd name="connsiteY122" fmla="*/ 236220 h 452380"/>
                  <a:gd name="connsiteX123" fmla="*/ 65818 w 368617"/>
                  <a:gd name="connsiteY123" fmla="*/ 237649 h 452380"/>
                  <a:gd name="connsiteX124" fmla="*/ 79915 w 368617"/>
                  <a:gd name="connsiteY124" fmla="*/ 239363 h 452380"/>
                  <a:gd name="connsiteX125" fmla="*/ 97060 w 368617"/>
                  <a:gd name="connsiteY125" fmla="*/ 240030 h 452380"/>
                  <a:gd name="connsiteX126" fmla="*/ 104489 w 368617"/>
                  <a:gd name="connsiteY126" fmla="*/ 240030 h 452380"/>
                  <a:gd name="connsiteX127" fmla="*/ 110871 w 368617"/>
                  <a:gd name="connsiteY127" fmla="*/ 239744 h 452380"/>
                  <a:gd name="connsiteX128" fmla="*/ 116205 w 368617"/>
                  <a:gd name="connsiteY128" fmla="*/ 242125 h 452380"/>
                  <a:gd name="connsiteX129" fmla="*/ 120491 w 368617"/>
                  <a:gd name="connsiteY129" fmla="*/ 243078 h 452380"/>
                  <a:gd name="connsiteX130" fmla="*/ 123634 w 368617"/>
                  <a:gd name="connsiteY130" fmla="*/ 244412 h 452380"/>
                  <a:gd name="connsiteX131" fmla="*/ 133255 w 368617"/>
                  <a:gd name="connsiteY131" fmla="*/ 244412 h 452380"/>
                  <a:gd name="connsiteX132" fmla="*/ 128492 w 368617"/>
                  <a:gd name="connsiteY132" fmla="*/ 247745 h 452380"/>
                  <a:gd name="connsiteX133" fmla="*/ 121444 w 368617"/>
                  <a:gd name="connsiteY133" fmla="*/ 257270 h 452380"/>
                  <a:gd name="connsiteX134" fmla="*/ 112966 w 368617"/>
                  <a:gd name="connsiteY134" fmla="*/ 271082 h 452380"/>
                  <a:gd name="connsiteX135" fmla="*/ 105156 w 368617"/>
                  <a:gd name="connsiteY135" fmla="*/ 280702 h 452380"/>
                  <a:gd name="connsiteX136" fmla="*/ 96202 w 368617"/>
                  <a:gd name="connsiteY136" fmla="*/ 289465 h 452380"/>
                  <a:gd name="connsiteX137" fmla="*/ 86582 w 368617"/>
                  <a:gd name="connsiteY137" fmla="*/ 303371 h 452380"/>
                  <a:gd name="connsiteX138" fmla="*/ 81629 w 368617"/>
                  <a:gd name="connsiteY138" fmla="*/ 309658 h 452380"/>
                  <a:gd name="connsiteX139" fmla="*/ 74104 w 368617"/>
                  <a:gd name="connsiteY139" fmla="*/ 317468 h 452380"/>
                  <a:gd name="connsiteX140" fmla="*/ 72295 w 368617"/>
                  <a:gd name="connsiteY140" fmla="*/ 319088 h 452380"/>
                  <a:gd name="connsiteX141" fmla="*/ 64865 w 368617"/>
                  <a:gd name="connsiteY141" fmla="*/ 327184 h 452380"/>
                  <a:gd name="connsiteX142" fmla="*/ 62293 w 368617"/>
                  <a:gd name="connsiteY142" fmla="*/ 330898 h 452380"/>
                  <a:gd name="connsiteX143" fmla="*/ 55435 w 368617"/>
                  <a:gd name="connsiteY143" fmla="*/ 339185 h 452380"/>
                  <a:gd name="connsiteX144" fmla="*/ 52864 w 368617"/>
                  <a:gd name="connsiteY144" fmla="*/ 349758 h 452380"/>
                  <a:gd name="connsiteX145" fmla="*/ 51149 w 368617"/>
                  <a:gd name="connsiteY145" fmla="*/ 364903 h 452380"/>
                  <a:gd name="connsiteX146" fmla="*/ 50959 w 368617"/>
                  <a:gd name="connsiteY146" fmla="*/ 370046 h 452380"/>
                  <a:gd name="connsiteX147" fmla="*/ 51149 w 368617"/>
                  <a:gd name="connsiteY147" fmla="*/ 385953 h 452380"/>
                  <a:gd name="connsiteX148" fmla="*/ 50578 w 368617"/>
                  <a:gd name="connsiteY148" fmla="*/ 388620 h 452380"/>
                  <a:gd name="connsiteX149" fmla="*/ 50578 w 368617"/>
                  <a:gd name="connsiteY149" fmla="*/ 392621 h 452380"/>
                  <a:gd name="connsiteX150" fmla="*/ 64484 w 368617"/>
                  <a:gd name="connsiteY150" fmla="*/ 400241 h 452380"/>
                  <a:gd name="connsiteX151" fmla="*/ 66199 w 368617"/>
                  <a:gd name="connsiteY151" fmla="*/ 399479 h 452380"/>
                  <a:gd name="connsiteX152" fmla="*/ 74009 w 368617"/>
                  <a:gd name="connsiteY152" fmla="*/ 396621 h 452380"/>
                  <a:gd name="connsiteX153" fmla="*/ 81629 w 368617"/>
                  <a:gd name="connsiteY153" fmla="*/ 389573 h 452380"/>
                  <a:gd name="connsiteX154" fmla="*/ 83629 w 368617"/>
                  <a:gd name="connsiteY154" fmla="*/ 385763 h 452380"/>
                  <a:gd name="connsiteX155" fmla="*/ 88868 w 368617"/>
                  <a:gd name="connsiteY155" fmla="*/ 379095 h 452380"/>
                  <a:gd name="connsiteX156" fmla="*/ 90773 w 368617"/>
                  <a:gd name="connsiteY156" fmla="*/ 381476 h 452380"/>
                  <a:gd name="connsiteX157" fmla="*/ 103537 w 368617"/>
                  <a:gd name="connsiteY157" fmla="*/ 366903 h 452380"/>
                  <a:gd name="connsiteX158" fmla="*/ 107537 w 368617"/>
                  <a:gd name="connsiteY158" fmla="*/ 362426 h 452380"/>
                  <a:gd name="connsiteX159" fmla="*/ 117157 w 368617"/>
                  <a:gd name="connsiteY159" fmla="*/ 353568 h 452380"/>
                  <a:gd name="connsiteX160" fmla="*/ 127826 w 368617"/>
                  <a:gd name="connsiteY160" fmla="*/ 345377 h 452380"/>
                  <a:gd name="connsiteX161" fmla="*/ 129826 w 368617"/>
                  <a:gd name="connsiteY161" fmla="*/ 340043 h 452380"/>
                  <a:gd name="connsiteX162" fmla="*/ 133636 w 368617"/>
                  <a:gd name="connsiteY162" fmla="*/ 337375 h 452380"/>
                  <a:gd name="connsiteX163" fmla="*/ 138017 w 368617"/>
                  <a:gd name="connsiteY163" fmla="*/ 333756 h 452380"/>
                  <a:gd name="connsiteX164" fmla="*/ 146018 w 368617"/>
                  <a:gd name="connsiteY164" fmla="*/ 324612 h 452380"/>
                  <a:gd name="connsiteX165" fmla="*/ 147733 w 368617"/>
                  <a:gd name="connsiteY165" fmla="*/ 322421 h 452380"/>
                  <a:gd name="connsiteX166" fmla="*/ 160592 w 368617"/>
                  <a:gd name="connsiteY166" fmla="*/ 308134 h 452380"/>
                  <a:gd name="connsiteX167" fmla="*/ 167069 w 368617"/>
                  <a:gd name="connsiteY167" fmla="*/ 303657 h 452380"/>
                  <a:gd name="connsiteX168" fmla="*/ 171831 w 368617"/>
                  <a:gd name="connsiteY168" fmla="*/ 301181 h 452380"/>
                  <a:gd name="connsiteX169" fmla="*/ 173355 w 368617"/>
                  <a:gd name="connsiteY169" fmla="*/ 299085 h 452380"/>
                  <a:gd name="connsiteX170" fmla="*/ 176117 w 368617"/>
                  <a:gd name="connsiteY170" fmla="*/ 296037 h 452380"/>
                  <a:gd name="connsiteX171" fmla="*/ 179737 w 368617"/>
                  <a:gd name="connsiteY171" fmla="*/ 300800 h 452380"/>
                  <a:gd name="connsiteX172" fmla="*/ 184309 w 368617"/>
                  <a:gd name="connsiteY172" fmla="*/ 318897 h 452380"/>
                  <a:gd name="connsiteX173" fmla="*/ 189547 w 368617"/>
                  <a:gd name="connsiteY173" fmla="*/ 337375 h 452380"/>
                  <a:gd name="connsiteX174" fmla="*/ 192595 w 368617"/>
                  <a:gd name="connsiteY174" fmla="*/ 352139 h 452380"/>
                  <a:gd name="connsiteX175" fmla="*/ 196024 w 368617"/>
                  <a:gd name="connsiteY175" fmla="*/ 367094 h 452380"/>
                  <a:gd name="connsiteX176" fmla="*/ 198596 w 368617"/>
                  <a:gd name="connsiteY176" fmla="*/ 374523 h 452380"/>
                  <a:gd name="connsiteX177" fmla="*/ 201263 w 368617"/>
                  <a:gd name="connsiteY177" fmla="*/ 393859 h 452380"/>
                  <a:gd name="connsiteX178" fmla="*/ 204406 w 368617"/>
                  <a:gd name="connsiteY178" fmla="*/ 403098 h 452380"/>
                  <a:gd name="connsiteX179" fmla="*/ 207931 w 368617"/>
                  <a:gd name="connsiteY179" fmla="*/ 416243 h 452380"/>
                  <a:gd name="connsiteX180" fmla="*/ 211741 w 368617"/>
                  <a:gd name="connsiteY180" fmla="*/ 422053 h 452380"/>
                  <a:gd name="connsiteX181" fmla="*/ 212122 w 368617"/>
                  <a:gd name="connsiteY181" fmla="*/ 431864 h 452380"/>
                  <a:gd name="connsiteX182" fmla="*/ 223266 w 368617"/>
                  <a:gd name="connsiteY182" fmla="*/ 449580 h 452380"/>
                  <a:gd name="connsiteX183" fmla="*/ 228695 w 368617"/>
                  <a:gd name="connsiteY183" fmla="*/ 451580 h 452380"/>
                  <a:gd name="connsiteX184" fmla="*/ 228695 w 368617"/>
                  <a:gd name="connsiteY184" fmla="*/ 451580 h 452380"/>
                  <a:gd name="connsiteX185" fmla="*/ 233648 w 368617"/>
                  <a:gd name="connsiteY185" fmla="*/ 451580 h 452380"/>
                  <a:gd name="connsiteX186" fmla="*/ 241840 w 368617"/>
                  <a:gd name="connsiteY186" fmla="*/ 448913 h 452380"/>
                  <a:gd name="connsiteX187" fmla="*/ 244030 w 368617"/>
                  <a:gd name="connsiteY187" fmla="*/ 423386 h 452380"/>
                  <a:gd name="connsiteX188" fmla="*/ 240601 w 368617"/>
                  <a:gd name="connsiteY188" fmla="*/ 404622 h 452380"/>
                  <a:gd name="connsiteX189" fmla="*/ 237172 w 368617"/>
                  <a:gd name="connsiteY189" fmla="*/ 386620 h 452380"/>
                  <a:gd name="connsiteX190" fmla="*/ 236982 w 368617"/>
                  <a:gd name="connsiteY190" fmla="*/ 384620 h 452380"/>
                  <a:gd name="connsiteX191" fmla="*/ 232981 w 368617"/>
                  <a:gd name="connsiteY191" fmla="*/ 361855 h 452380"/>
                  <a:gd name="connsiteX192" fmla="*/ 232029 w 368617"/>
                  <a:gd name="connsiteY192" fmla="*/ 350044 h 452380"/>
                  <a:gd name="connsiteX193" fmla="*/ 223456 w 368617"/>
                  <a:gd name="connsiteY193" fmla="*/ 323279 h 452380"/>
                  <a:gd name="connsiteX194" fmla="*/ 212503 w 368617"/>
                  <a:gd name="connsiteY194" fmla="*/ 294037 h 452380"/>
                  <a:gd name="connsiteX195" fmla="*/ 212217 w 368617"/>
                  <a:gd name="connsiteY195" fmla="*/ 285655 h 452380"/>
                  <a:gd name="connsiteX196" fmla="*/ 222123 w 368617"/>
                  <a:gd name="connsiteY196" fmla="*/ 284988 h 452380"/>
                  <a:gd name="connsiteX197" fmla="*/ 234410 w 368617"/>
                  <a:gd name="connsiteY197" fmla="*/ 289560 h 452380"/>
                  <a:gd name="connsiteX198" fmla="*/ 249079 w 368617"/>
                  <a:gd name="connsiteY198" fmla="*/ 291179 h 452380"/>
                  <a:gd name="connsiteX199" fmla="*/ 267843 w 368617"/>
                  <a:gd name="connsiteY199" fmla="*/ 292227 h 452380"/>
                  <a:gd name="connsiteX200" fmla="*/ 272701 w 368617"/>
                  <a:gd name="connsiteY200" fmla="*/ 291560 h 452380"/>
                  <a:gd name="connsiteX201" fmla="*/ 282893 w 368617"/>
                  <a:gd name="connsiteY201" fmla="*/ 292798 h 452380"/>
                  <a:gd name="connsiteX202" fmla="*/ 283464 w 368617"/>
                  <a:gd name="connsiteY202" fmla="*/ 291179 h 452380"/>
                  <a:gd name="connsiteX203" fmla="*/ 283464 w 368617"/>
                  <a:gd name="connsiteY203" fmla="*/ 289179 h 452380"/>
                  <a:gd name="connsiteX204" fmla="*/ 285560 w 368617"/>
                  <a:gd name="connsiteY204" fmla="*/ 290132 h 452380"/>
                  <a:gd name="connsiteX205" fmla="*/ 288893 w 368617"/>
                  <a:gd name="connsiteY205" fmla="*/ 291656 h 452380"/>
                  <a:gd name="connsiteX206" fmla="*/ 309944 w 368617"/>
                  <a:gd name="connsiteY206" fmla="*/ 288893 h 452380"/>
                  <a:gd name="connsiteX207" fmla="*/ 322421 w 368617"/>
                  <a:gd name="connsiteY207" fmla="*/ 283083 h 452380"/>
                  <a:gd name="connsiteX208" fmla="*/ 324517 w 368617"/>
                  <a:gd name="connsiteY208" fmla="*/ 282797 h 452380"/>
                  <a:gd name="connsiteX209" fmla="*/ 333756 w 368617"/>
                  <a:gd name="connsiteY209" fmla="*/ 283940 h 452380"/>
                  <a:gd name="connsiteX210" fmla="*/ 341567 w 368617"/>
                  <a:gd name="connsiteY210" fmla="*/ 285941 h 452380"/>
                  <a:gd name="connsiteX211" fmla="*/ 345853 w 368617"/>
                  <a:gd name="connsiteY211" fmla="*/ 283940 h 452380"/>
                  <a:gd name="connsiteX212" fmla="*/ 346996 w 368617"/>
                  <a:gd name="connsiteY212" fmla="*/ 284988 h 452380"/>
                  <a:gd name="connsiteX213" fmla="*/ 346710 w 368617"/>
                  <a:gd name="connsiteY213" fmla="*/ 281750 h 452380"/>
                  <a:gd name="connsiteX214" fmla="*/ 361474 w 368617"/>
                  <a:gd name="connsiteY214" fmla="*/ 279559 h 452380"/>
                  <a:gd name="connsiteX215" fmla="*/ 363569 w 368617"/>
                  <a:gd name="connsiteY215" fmla="*/ 277749 h 452380"/>
                  <a:gd name="connsiteX216" fmla="*/ 366046 w 368617"/>
                  <a:gd name="connsiteY216" fmla="*/ 270129 h 452380"/>
                  <a:gd name="connsiteX217" fmla="*/ 366903 w 368617"/>
                  <a:gd name="connsiteY217" fmla="*/ 263271 h 452380"/>
                  <a:gd name="connsiteX218" fmla="*/ 367951 w 368617"/>
                  <a:gd name="connsiteY218" fmla="*/ 257556 h 452380"/>
                  <a:gd name="connsiteX219" fmla="*/ 155543 w 368617"/>
                  <a:gd name="connsiteY219" fmla="*/ 115348 h 452380"/>
                  <a:gd name="connsiteX220" fmla="*/ 157448 w 368617"/>
                  <a:gd name="connsiteY220" fmla="*/ 117729 h 452380"/>
                  <a:gd name="connsiteX221" fmla="*/ 156305 w 368617"/>
                  <a:gd name="connsiteY221" fmla="*/ 119158 h 452380"/>
                  <a:gd name="connsiteX222" fmla="*/ 154115 w 368617"/>
                  <a:gd name="connsiteY222" fmla="*/ 116586 h 452380"/>
                  <a:gd name="connsiteX223" fmla="*/ 155543 w 368617"/>
                  <a:gd name="connsiteY223" fmla="*/ 115348 h 452380"/>
                  <a:gd name="connsiteX224" fmla="*/ 158591 w 368617"/>
                  <a:gd name="connsiteY224" fmla="*/ 155543 h 452380"/>
                  <a:gd name="connsiteX225" fmla="*/ 155353 w 368617"/>
                  <a:gd name="connsiteY225" fmla="*/ 156877 h 452380"/>
                  <a:gd name="connsiteX226" fmla="*/ 149447 w 368617"/>
                  <a:gd name="connsiteY226" fmla="*/ 154591 h 452380"/>
                  <a:gd name="connsiteX227" fmla="*/ 141161 w 368617"/>
                  <a:gd name="connsiteY227" fmla="*/ 121920 h 452380"/>
                  <a:gd name="connsiteX228" fmla="*/ 141637 w 368617"/>
                  <a:gd name="connsiteY228" fmla="*/ 118491 h 452380"/>
                  <a:gd name="connsiteX229" fmla="*/ 143066 w 368617"/>
                  <a:gd name="connsiteY229" fmla="*/ 118491 h 452380"/>
                  <a:gd name="connsiteX230" fmla="*/ 151257 w 368617"/>
                  <a:gd name="connsiteY230" fmla="*/ 127921 h 452380"/>
                  <a:gd name="connsiteX231" fmla="*/ 151543 w 368617"/>
                  <a:gd name="connsiteY231" fmla="*/ 128683 h 452380"/>
                  <a:gd name="connsiteX232" fmla="*/ 156972 w 368617"/>
                  <a:gd name="connsiteY232" fmla="*/ 138303 h 452380"/>
                  <a:gd name="connsiteX233" fmla="*/ 163830 w 368617"/>
                  <a:gd name="connsiteY233" fmla="*/ 148876 h 452380"/>
                  <a:gd name="connsiteX234" fmla="*/ 158591 w 368617"/>
                  <a:gd name="connsiteY234" fmla="*/ 155543 h 452380"/>
                  <a:gd name="connsiteX235" fmla="*/ 228028 w 368617"/>
                  <a:gd name="connsiteY235" fmla="*/ 149257 h 452380"/>
                  <a:gd name="connsiteX236" fmla="*/ 218503 w 368617"/>
                  <a:gd name="connsiteY236" fmla="*/ 161735 h 452380"/>
                  <a:gd name="connsiteX237" fmla="*/ 206978 w 368617"/>
                  <a:gd name="connsiteY237" fmla="*/ 178689 h 452380"/>
                  <a:gd name="connsiteX238" fmla="*/ 206026 w 368617"/>
                  <a:gd name="connsiteY238" fmla="*/ 180404 h 452380"/>
                  <a:gd name="connsiteX239" fmla="*/ 189643 w 368617"/>
                  <a:gd name="connsiteY239" fmla="*/ 189548 h 452380"/>
                  <a:gd name="connsiteX240" fmla="*/ 185642 w 368617"/>
                  <a:gd name="connsiteY240" fmla="*/ 198025 h 452380"/>
                  <a:gd name="connsiteX241" fmla="*/ 182690 w 368617"/>
                  <a:gd name="connsiteY241" fmla="*/ 202597 h 452380"/>
                  <a:gd name="connsiteX242" fmla="*/ 180689 w 368617"/>
                  <a:gd name="connsiteY242" fmla="*/ 199168 h 452380"/>
                  <a:gd name="connsiteX243" fmla="*/ 176403 w 368617"/>
                  <a:gd name="connsiteY243" fmla="*/ 193453 h 452380"/>
                  <a:gd name="connsiteX244" fmla="*/ 182023 w 368617"/>
                  <a:gd name="connsiteY244" fmla="*/ 184404 h 452380"/>
                  <a:gd name="connsiteX245" fmla="*/ 184880 w 368617"/>
                  <a:gd name="connsiteY245" fmla="*/ 179261 h 452380"/>
                  <a:gd name="connsiteX246" fmla="*/ 186214 w 368617"/>
                  <a:gd name="connsiteY246" fmla="*/ 178879 h 452380"/>
                  <a:gd name="connsiteX247" fmla="*/ 188500 w 368617"/>
                  <a:gd name="connsiteY247" fmla="*/ 177641 h 452380"/>
                  <a:gd name="connsiteX248" fmla="*/ 194500 w 368617"/>
                  <a:gd name="connsiteY248" fmla="*/ 171736 h 452380"/>
                  <a:gd name="connsiteX249" fmla="*/ 207073 w 368617"/>
                  <a:gd name="connsiteY249" fmla="*/ 155829 h 452380"/>
                  <a:gd name="connsiteX250" fmla="*/ 218313 w 368617"/>
                  <a:gd name="connsiteY250" fmla="*/ 143542 h 452380"/>
                  <a:gd name="connsiteX251" fmla="*/ 229267 w 368617"/>
                  <a:gd name="connsiteY251" fmla="*/ 130588 h 452380"/>
                  <a:gd name="connsiteX252" fmla="*/ 240316 w 368617"/>
                  <a:gd name="connsiteY252" fmla="*/ 114871 h 452380"/>
                  <a:gd name="connsiteX253" fmla="*/ 249936 w 368617"/>
                  <a:gd name="connsiteY253" fmla="*/ 105346 h 452380"/>
                  <a:gd name="connsiteX254" fmla="*/ 262795 w 368617"/>
                  <a:gd name="connsiteY254" fmla="*/ 94107 h 452380"/>
                  <a:gd name="connsiteX255" fmla="*/ 272129 w 368617"/>
                  <a:gd name="connsiteY255" fmla="*/ 84201 h 452380"/>
                  <a:gd name="connsiteX256" fmla="*/ 275368 w 368617"/>
                  <a:gd name="connsiteY256" fmla="*/ 81153 h 452380"/>
                  <a:gd name="connsiteX257" fmla="*/ 278320 w 368617"/>
                  <a:gd name="connsiteY257" fmla="*/ 81820 h 452380"/>
                  <a:gd name="connsiteX258" fmla="*/ 277273 w 368617"/>
                  <a:gd name="connsiteY258" fmla="*/ 85916 h 452380"/>
                  <a:gd name="connsiteX259" fmla="*/ 266319 w 368617"/>
                  <a:gd name="connsiteY259" fmla="*/ 97917 h 452380"/>
                  <a:gd name="connsiteX260" fmla="*/ 256889 w 368617"/>
                  <a:gd name="connsiteY260" fmla="*/ 109728 h 452380"/>
                  <a:gd name="connsiteX261" fmla="*/ 247174 w 368617"/>
                  <a:gd name="connsiteY261" fmla="*/ 123349 h 452380"/>
                  <a:gd name="connsiteX262" fmla="*/ 245173 w 368617"/>
                  <a:gd name="connsiteY262" fmla="*/ 125730 h 452380"/>
                  <a:gd name="connsiteX263" fmla="*/ 242125 w 368617"/>
                  <a:gd name="connsiteY263" fmla="*/ 129635 h 452380"/>
                  <a:gd name="connsiteX264" fmla="*/ 241268 w 368617"/>
                  <a:gd name="connsiteY264" fmla="*/ 128397 h 452380"/>
                  <a:gd name="connsiteX265" fmla="*/ 240887 w 368617"/>
                  <a:gd name="connsiteY265" fmla="*/ 131921 h 452380"/>
                  <a:gd name="connsiteX266" fmla="*/ 228314 w 368617"/>
                  <a:gd name="connsiteY266" fmla="*/ 149257 h 452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368617" h="452380">
                    <a:moveTo>
                      <a:pt x="368618" y="257842"/>
                    </a:moveTo>
                    <a:cubicBezTo>
                      <a:pt x="366141" y="253746"/>
                      <a:pt x="367760" y="249555"/>
                      <a:pt x="367951" y="245459"/>
                    </a:cubicBezTo>
                    <a:cubicBezTo>
                      <a:pt x="367951" y="243935"/>
                      <a:pt x="369094" y="242030"/>
                      <a:pt x="366808" y="241745"/>
                    </a:cubicBezTo>
                    <a:cubicBezTo>
                      <a:pt x="364045" y="241459"/>
                      <a:pt x="364808" y="239649"/>
                      <a:pt x="365284" y="238601"/>
                    </a:cubicBezTo>
                    <a:cubicBezTo>
                      <a:pt x="367284" y="234220"/>
                      <a:pt x="364522" y="231267"/>
                      <a:pt x="362426" y="228124"/>
                    </a:cubicBezTo>
                    <a:cubicBezTo>
                      <a:pt x="360426" y="224981"/>
                      <a:pt x="357092" y="223742"/>
                      <a:pt x="353854" y="222028"/>
                    </a:cubicBezTo>
                    <a:cubicBezTo>
                      <a:pt x="348996" y="219361"/>
                      <a:pt x="343853" y="216884"/>
                      <a:pt x="339281" y="213360"/>
                    </a:cubicBezTo>
                    <a:cubicBezTo>
                      <a:pt x="337566" y="212027"/>
                      <a:pt x="335661" y="209550"/>
                      <a:pt x="332708" y="210979"/>
                    </a:cubicBezTo>
                    <a:cubicBezTo>
                      <a:pt x="330898" y="207169"/>
                      <a:pt x="327660" y="207931"/>
                      <a:pt x="324517" y="208312"/>
                    </a:cubicBezTo>
                    <a:cubicBezTo>
                      <a:pt x="324517" y="207359"/>
                      <a:pt x="324326" y="206502"/>
                      <a:pt x="323183" y="206121"/>
                    </a:cubicBezTo>
                    <a:cubicBezTo>
                      <a:pt x="321755" y="205740"/>
                      <a:pt x="320231" y="205264"/>
                      <a:pt x="318707" y="205073"/>
                    </a:cubicBezTo>
                    <a:cubicBezTo>
                      <a:pt x="315659" y="204788"/>
                      <a:pt x="311563" y="208121"/>
                      <a:pt x="309944" y="202502"/>
                    </a:cubicBezTo>
                    <a:cubicBezTo>
                      <a:pt x="309848" y="202025"/>
                      <a:pt x="308991" y="202692"/>
                      <a:pt x="308800" y="202692"/>
                    </a:cubicBezTo>
                    <a:cubicBezTo>
                      <a:pt x="307181" y="202406"/>
                      <a:pt x="305371" y="201168"/>
                      <a:pt x="304705" y="203930"/>
                    </a:cubicBezTo>
                    <a:cubicBezTo>
                      <a:pt x="304229" y="203549"/>
                      <a:pt x="303657" y="203073"/>
                      <a:pt x="303086" y="202787"/>
                    </a:cubicBezTo>
                    <a:cubicBezTo>
                      <a:pt x="301181" y="201644"/>
                      <a:pt x="299180" y="200692"/>
                      <a:pt x="297370" y="199358"/>
                    </a:cubicBezTo>
                    <a:cubicBezTo>
                      <a:pt x="294894" y="197644"/>
                      <a:pt x="291751" y="199549"/>
                      <a:pt x="289274" y="197644"/>
                    </a:cubicBezTo>
                    <a:cubicBezTo>
                      <a:pt x="287084" y="202406"/>
                      <a:pt x="284988" y="198501"/>
                      <a:pt x="282797" y="197644"/>
                    </a:cubicBezTo>
                    <a:cubicBezTo>
                      <a:pt x="281464" y="197072"/>
                      <a:pt x="280416" y="195263"/>
                      <a:pt x="278701" y="195929"/>
                    </a:cubicBezTo>
                    <a:cubicBezTo>
                      <a:pt x="276035" y="196977"/>
                      <a:pt x="279273" y="199263"/>
                      <a:pt x="277940" y="200692"/>
                    </a:cubicBezTo>
                    <a:cubicBezTo>
                      <a:pt x="274511" y="200596"/>
                      <a:pt x="275654" y="197739"/>
                      <a:pt x="275558" y="195453"/>
                    </a:cubicBezTo>
                    <a:cubicBezTo>
                      <a:pt x="274130" y="196691"/>
                      <a:pt x="272891" y="198215"/>
                      <a:pt x="272606" y="198025"/>
                    </a:cubicBezTo>
                    <a:cubicBezTo>
                      <a:pt x="268510" y="195548"/>
                      <a:pt x="263938" y="199073"/>
                      <a:pt x="260223" y="197453"/>
                    </a:cubicBezTo>
                    <a:cubicBezTo>
                      <a:pt x="256508" y="195739"/>
                      <a:pt x="253841" y="193643"/>
                      <a:pt x="249555" y="197072"/>
                    </a:cubicBezTo>
                    <a:cubicBezTo>
                      <a:pt x="246793" y="199168"/>
                      <a:pt x="241554" y="194881"/>
                      <a:pt x="238411" y="199263"/>
                    </a:cubicBezTo>
                    <a:cubicBezTo>
                      <a:pt x="238411" y="199073"/>
                      <a:pt x="238411" y="198882"/>
                      <a:pt x="238316" y="198787"/>
                    </a:cubicBezTo>
                    <a:cubicBezTo>
                      <a:pt x="240030" y="196787"/>
                      <a:pt x="237172" y="196787"/>
                      <a:pt x="236982" y="195548"/>
                    </a:cubicBezTo>
                    <a:cubicBezTo>
                      <a:pt x="237268" y="194596"/>
                      <a:pt x="237553" y="193548"/>
                      <a:pt x="237744" y="192596"/>
                    </a:cubicBezTo>
                    <a:cubicBezTo>
                      <a:pt x="238887" y="186309"/>
                      <a:pt x="245650" y="184118"/>
                      <a:pt x="248031" y="178498"/>
                    </a:cubicBezTo>
                    <a:cubicBezTo>
                      <a:pt x="250889" y="172117"/>
                      <a:pt x="259461" y="169259"/>
                      <a:pt x="259175" y="160782"/>
                    </a:cubicBezTo>
                    <a:cubicBezTo>
                      <a:pt x="259175" y="160496"/>
                      <a:pt x="260223" y="159829"/>
                      <a:pt x="260699" y="159829"/>
                    </a:cubicBezTo>
                    <a:cubicBezTo>
                      <a:pt x="262319" y="160020"/>
                      <a:pt x="262795" y="159639"/>
                      <a:pt x="262604" y="157829"/>
                    </a:cubicBezTo>
                    <a:cubicBezTo>
                      <a:pt x="262414" y="155639"/>
                      <a:pt x="264223" y="154019"/>
                      <a:pt x="265747" y="153734"/>
                    </a:cubicBezTo>
                    <a:cubicBezTo>
                      <a:pt x="269558" y="153067"/>
                      <a:pt x="269939" y="150114"/>
                      <a:pt x="270986" y="147542"/>
                    </a:cubicBezTo>
                    <a:cubicBezTo>
                      <a:pt x="271748" y="145733"/>
                      <a:pt x="271367" y="143161"/>
                      <a:pt x="274320" y="143066"/>
                    </a:cubicBezTo>
                    <a:cubicBezTo>
                      <a:pt x="274034" y="140589"/>
                      <a:pt x="279368" y="139827"/>
                      <a:pt x="276416" y="136398"/>
                    </a:cubicBezTo>
                    <a:cubicBezTo>
                      <a:pt x="276796" y="135636"/>
                      <a:pt x="277178" y="134969"/>
                      <a:pt x="277654" y="134207"/>
                    </a:cubicBezTo>
                    <a:cubicBezTo>
                      <a:pt x="280797" y="131254"/>
                      <a:pt x="284512" y="128683"/>
                      <a:pt x="287084" y="125349"/>
                    </a:cubicBezTo>
                    <a:cubicBezTo>
                      <a:pt x="289465" y="122206"/>
                      <a:pt x="292703" y="119158"/>
                      <a:pt x="292322" y="114491"/>
                    </a:cubicBezTo>
                    <a:cubicBezTo>
                      <a:pt x="294132" y="115157"/>
                      <a:pt x="294608" y="114300"/>
                      <a:pt x="294418" y="112681"/>
                    </a:cubicBezTo>
                    <a:cubicBezTo>
                      <a:pt x="299466" y="108871"/>
                      <a:pt x="300228" y="107347"/>
                      <a:pt x="300133" y="102108"/>
                    </a:cubicBezTo>
                    <a:cubicBezTo>
                      <a:pt x="300133" y="101727"/>
                      <a:pt x="300704" y="101251"/>
                      <a:pt x="300895" y="100870"/>
                    </a:cubicBezTo>
                    <a:cubicBezTo>
                      <a:pt x="302800" y="97250"/>
                      <a:pt x="305467" y="94107"/>
                      <a:pt x="307372" y="90488"/>
                    </a:cubicBezTo>
                    <a:cubicBezTo>
                      <a:pt x="310420" y="84677"/>
                      <a:pt x="313563" y="78867"/>
                      <a:pt x="315373" y="72676"/>
                    </a:cubicBezTo>
                    <a:cubicBezTo>
                      <a:pt x="319183" y="59627"/>
                      <a:pt x="322326" y="46292"/>
                      <a:pt x="321564" y="32480"/>
                    </a:cubicBezTo>
                    <a:cubicBezTo>
                      <a:pt x="321278" y="28099"/>
                      <a:pt x="319183" y="22003"/>
                      <a:pt x="315182" y="22003"/>
                    </a:cubicBezTo>
                    <a:cubicBezTo>
                      <a:pt x="309848" y="22003"/>
                      <a:pt x="306800" y="16288"/>
                      <a:pt x="301371" y="18193"/>
                    </a:cubicBezTo>
                    <a:cubicBezTo>
                      <a:pt x="300038" y="18669"/>
                      <a:pt x="301752" y="16478"/>
                      <a:pt x="300799" y="15907"/>
                    </a:cubicBezTo>
                    <a:cubicBezTo>
                      <a:pt x="297751" y="16955"/>
                      <a:pt x="298323" y="22098"/>
                      <a:pt x="293751" y="21527"/>
                    </a:cubicBezTo>
                    <a:cubicBezTo>
                      <a:pt x="290322" y="21050"/>
                      <a:pt x="290132" y="25241"/>
                      <a:pt x="287465" y="26860"/>
                    </a:cubicBezTo>
                    <a:cubicBezTo>
                      <a:pt x="283464" y="29242"/>
                      <a:pt x="277654" y="30671"/>
                      <a:pt x="276606" y="36671"/>
                    </a:cubicBezTo>
                    <a:cubicBezTo>
                      <a:pt x="274511" y="36100"/>
                      <a:pt x="274130" y="42863"/>
                      <a:pt x="270796" y="38005"/>
                    </a:cubicBezTo>
                    <a:cubicBezTo>
                      <a:pt x="270129" y="37052"/>
                      <a:pt x="269462" y="38291"/>
                      <a:pt x="269367" y="39148"/>
                    </a:cubicBezTo>
                    <a:cubicBezTo>
                      <a:pt x="269272" y="40196"/>
                      <a:pt x="269176" y="41243"/>
                      <a:pt x="268129" y="41815"/>
                    </a:cubicBezTo>
                    <a:cubicBezTo>
                      <a:pt x="263462" y="44482"/>
                      <a:pt x="261175" y="49625"/>
                      <a:pt x="256794" y="52673"/>
                    </a:cubicBezTo>
                    <a:cubicBezTo>
                      <a:pt x="250508" y="57055"/>
                      <a:pt x="247555" y="64865"/>
                      <a:pt x="241173" y="69056"/>
                    </a:cubicBezTo>
                    <a:cubicBezTo>
                      <a:pt x="238316" y="70961"/>
                      <a:pt x="235077" y="72009"/>
                      <a:pt x="234696" y="76010"/>
                    </a:cubicBezTo>
                    <a:cubicBezTo>
                      <a:pt x="234696" y="76200"/>
                      <a:pt x="234124" y="76581"/>
                      <a:pt x="233934" y="76581"/>
                    </a:cubicBezTo>
                    <a:cubicBezTo>
                      <a:pt x="229648" y="75724"/>
                      <a:pt x="228791" y="79915"/>
                      <a:pt x="227838" y="82010"/>
                    </a:cubicBezTo>
                    <a:cubicBezTo>
                      <a:pt x="224219" y="89725"/>
                      <a:pt x="217456" y="94869"/>
                      <a:pt x="212408" y="101346"/>
                    </a:cubicBezTo>
                    <a:cubicBezTo>
                      <a:pt x="210217" y="104204"/>
                      <a:pt x="208026" y="107823"/>
                      <a:pt x="204216" y="110109"/>
                    </a:cubicBezTo>
                    <a:cubicBezTo>
                      <a:pt x="198501" y="113538"/>
                      <a:pt x="192786" y="117729"/>
                      <a:pt x="190976" y="125254"/>
                    </a:cubicBezTo>
                    <a:cubicBezTo>
                      <a:pt x="190500" y="127445"/>
                      <a:pt x="187738" y="129064"/>
                      <a:pt x="184975" y="129254"/>
                    </a:cubicBezTo>
                    <a:cubicBezTo>
                      <a:pt x="182118" y="129445"/>
                      <a:pt x="181927" y="127159"/>
                      <a:pt x="181451" y="125158"/>
                    </a:cubicBezTo>
                    <a:cubicBezTo>
                      <a:pt x="181261" y="124492"/>
                      <a:pt x="180785" y="123920"/>
                      <a:pt x="180499" y="123349"/>
                    </a:cubicBezTo>
                    <a:cubicBezTo>
                      <a:pt x="175355" y="113729"/>
                      <a:pt x="170117" y="104108"/>
                      <a:pt x="165068" y="94393"/>
                    </a:cubicBezTo>
                    <a:cubicBezTo>
                      <a:pt x="164211" y="92678"/>
                      <a:pt x="163830" y="90964"/>
                      <a:pt x="161925" y="89725"/>
                    </a:cubicBezTo>
                    <a:cubicBezTo>
                      <a:pt x="156877" y="86487"/>
                      <a:pt x="158972" y="78677"/>
                      <a:pt x="153162" y="75819"/>
                    </a:cubicBezTo>
                    <a:cubicBezTo>
                      <a:pt x="153352" y="75533"/>
                      <a:pt x="153543" y="75248"/>
                      <a:pt x="153734" y="74962"/>
                    </a:cubicBezTo>
                    <a:cubicBezTo>
                      <a:pt x="154781" y="73723"/>
                      <a:pt x="153829" y="73343"/>
                      <a:pt x="152876" y="72771"/>
                    </a:cubicBezTo>
                    <a:cubicBezTo>
                      <a:pt x="148971" y="70390"/>
                      <a:pt x="145733" y="67437"/>
                      <a:pt x="145637" y="62484"/>
                    </a:cubicBezTo>
                    <a:cubicBezTo>
                      <a:pt x="145637" y="58674"/>
                      <a:pt x="142303" y="56674"/>
                      <a:pt x="141161" y="53531"/>
                    </a:cubicBezTo>
                    <a:cubicBezTo>
                      <a:pt x="138874" y="47149"/>
                      <a:pt x="135922" y="41148"/>
                      <a:pt x="132016" y="35719"/>
                    </a:cubicBezTo>
                    <a:cubicBezTo>
                      <a:pt x="129921" y="32766"/>
                      <a:pt x="126587" y="30575"/>
                      <a:pt x="127921" y="26194"/>
                    </a:cubicBezTo>
                    <a:cubicBezTo>
                      <a:pt x="128302" y="24956"/>
                      <a:pt x="128206" y="23527"/>
                      <a:pt x="127064" y="22384"/>
                    </a:cubicBezTo>
                    <a:cubicBezTo>
                      <a:pt x="121825" y="17526"/>
                      <a:pt x="120205" y="11049"/>
                      <a:pt x="119729" y="4286"/>
                    </a:cubicBezTo>
                    <a:cubicBezTo>
                      <a:pt x="119634" y="2477"/>
                      <a:pt x="119348" y="95"/>
                      <a:pt x="117824" y="0"/>
                    </a:cubicBezTo>
                    <a:cubicBezTo>
                      <a:pt x="116395" y="0"/>
                      <a:pt x="114205" y="572"/>
                      <a:pt x="113062" y="2477"/>
                    </a:cubicBezTo>
                    <a:cubicBezTo>
                      <a:pt x="110490" y="6953"/>
                      <a:pt x="107061" y="11144"/>
                      <a:pt x="105061" y="15811"/>
                    </a:cubicBezTo>
                    <a:cubicBezTo>
                      <a:pt x="104203" y="17812"/>
                      <a:pt x="101727" y="19431"/>
                      <a:pt x="102108" y="20383"/>
                    </a:cubicBezTo>
                    <a:cubicBezTo>
                      <a:pt x="104013" y="25146"/>
                      <a:pt x="100013" y="25527"/>
                      <a:pt x="97726" y="26765"/>
                    </a:cubicBezTo>
                    <a:cubicBezTo>
                      <a:pt x="92964" y="29432"/>
                      <a:pt x="92012" y="32957"/>
                      <a:pt x="95345" y="37433"/>
                    </a:cubicBezTo>
                    <a:cubicBezTo>
                      <a:pt x="98869" y="42101"/>
                      <a:pt x="101441" y="47054"/>
                      <a:pt x="100013" y="53340"/>
                    </a:cubicBezTo>
                    <a:cubicBezTo>
                      <a:pt x="99536" y="55340"/>
                      <a:pt x="99441" y="57626"/>
                      <a:pt x="102299" y="58293"/>
                    </a:cubicBezTo>
                    <a:cubicBezTo>
                      <a:pt x="103251" y="58483"/>
                      <a:pt x="103823" y="59055"/>
                      <a:pt x="103918" y="60008"/>
                    </a:cubicBezTo>
                    <a:cubicBezTo>
                      <a:pt x="104203" y="64294"/>
                      <a:pt x="106394" y="68485"/>
                      <a:pt x="105156" y="72866"/>
                    </a:cubicBezTo>
                    <a:cubicBezTo>
                      <a:pt x="104203" y="76105"/>
                      <a:pt x="105061" y="78296"/>
                      <a:pt x="107251" y="80581"/>
                    </a:cubicBezTo>
                    <a:cubicBezTo>
                      <a:pt x="108014" y="81344"/>
                      <a:pt x="108776" y="83248"/>
                      <a:pt x="108299" y="83820"/>
                    </a:cubicBezTo>
                    <a:cubicBezTo>
                      <a:pt x="103918" y="89916"/>
                      <a:pt x="111728" y="94679"/>
                      <a:pt x="110014" y="101156"/>
                    </a:cubicBezTo>
                    <a:cubicBezTo>
                      <a:pt x="109061" y="104680"/>
                      <a:pt x="112871" y="110585"/>
                      <a:pt x="112776" y="114586"/>
                    </a:cubicBezTo>
                    <a:cubicBezTo>
                      <a:pt x="112395" y="124682"/>
                      <a:pt x="119158" y="132779"/>
                      <a:pt x="118872" y="142780"/>
                    </a:cubicBezTo>
                    <a:cubicBezTo>
                      <a:pt x="118681" y="148781"/>
                      <a:pt x="122111" y="154496"/>
                      <a:pt x="123444" y="160401"/>
                    </a:cubicBezTo>
                    <a:cubicBezTo>
                      <a:pt x="124777" y="166497"/>
                      <a:pt x="127064" y="172307"/>
                      <a:pt x="128492" y="178308"/>
                    </a:cubicBezTo>
                    <a:cubicBezTo>
                      <a:pt x="128873" y="179832"/>
                      <a:pt x="129635" y="181546"/>
                      <a:pt x="128492" y="182594"/>
                    </a:cubicBezTo>
                    <a:cubicBezTo>
                      <a:pt x="127730" y="183261"/>
                      <a:pt x="126111" y="183547"/>
                      <a:pt x="124587" y="183166"/>
                    </a:cubicBezTo>
                    <a:cubicBezTo>
                      <a:pt x="121349" y="182309"/>
                      <a:pt x="120872" y="175165"/>
                      <a:pt x="115633" y="179261"/>
                    </a:cubicBezTo>
                    <a:cubicBezTo>
                      <a:pt x="114490" y="176879"/>
                      <a:pt x="112109" y="176784"/>
                      <a:pt x="110204" y="175641"/>
                    </a:cubicBezTo>
                    <a:cubicBezTo>
                      <a:pt x="106489" y="173546"/>
                      <a:pt x="100679" y="170021"/>
                      <a:pt x="99251" y="171641"/>
                    </a:cubicBezTo>
                    <a:cubicBezTo>
                      <a:pt x="94107" y="177546"/>
                      <a:pt x="92869" y="169926"/>
                      <a:pt x="89726" y="169926"/>
                    </a:cubicBezTo>
                    <a:cubicBezTo>
                      <a:pt x="89344" y="169926"/>
                      <a:pt x="88964" y="170593"/>
                      <a:pt x="88582" y="170879"/>
                    </a:cubicBezTo>
                    <a:cubicBezTo>
                      <a:pt x="88392" y="170021"/>
                      <a:pt x="88964" y="168307"/>
                      <a:pt x="88011" y="168497"/>
                    </a:cubicBezTo>
                    <a:cubicBezTo>
                      <a:pt x="86296" y="168878"/>
                      <a:pt x="86963" y="170498"/>
                      <a:pt x="87535" y="171641"/>
                    </a:cubicBezTo>
                    <a:cubicBezTo>
                      <a:pt x="84963" y="170879"/>
                      <a:pt x="82010" y="170688"/>
                      <a:pt x="79915" y="169164"/>
                    </a:cubicBezTo>
                    <a:cubicBezTo>
                      <a:pt x="75724" y="166116"/>
                      <a:pt x="71342" y="166116"/>
                      <a:pt x="66675" y="166306"/>
                    </a:cubicBezTo>
                    <a:cubicBezTo>
                      <a:pt x="66199" y="165640"/>
                      <a:pt x="65532" y="165259"/>
                      <a:pt x="64579" y="165354"/>
                    </a:cubicBezTo>
                    <a:cubicBezTo>
                      <a:pt x="59436" y="165830"/>
                      <a:pt x="54959" y="171736"/>
                      <a:pt x="49339" y="167164"/>
                    </a:cubicBezTo>
                    <a:cubicBezTo>
                      <a:pt x="49244" y="167164"/>
                      <a:pt x="48958" y="166973"/>
                      <a:pt x="48863" y="167069"/>
                    </a:cubicBezTo>
                    <a:cubicBezTo>
                      <a:pt x="44005" y="169354"/>
                      <a:pt x="39338" y="167259"/>
                      <a:pt x="34576" y="166402"/>
                    </a:cubicBezTo>
                    <a:cubicBezTo>
                      <a:pt x="31909" y="165164"/>
                      <a:pt x="30099" y="166973"/>
                      <a:pt x="28289" y="168402"/>
                    </a:cubicBezTo>
                    <a:cubicBezTo>
                      <a:pt x="25717" y="169736"/>
                      <a:pt x="22289" y="169926"/>
                      <a:pt x="21431" y="173450"/>
                    </a:cubicBezTo>
                    <a:cubicBezTo>
                      <a:pt x="21050" y="171641"/>
                      <a:pt x="20574" y="170212"/>
                      <a:pt x="18097" y="171260"/>
                    </a:cubicBezTo>
                    <a:cubicBezTo>
                      <a:pt x="16002" y="172212"/>
                      <a:pt x="12478" y="170117"/>
                      <a:pt x="11716" y="173927"/>
                    </a:cubicBezTo>
                    <a:cubicBezTo>
                      <a:pt x="11335" y="175641"/>
                      <a:pt x="11144" y="176784"/>
                      <a:pt x="9430" y="178022"/>
                    </a:cubicBezTo>
                    <a:cubicBezTo>
                      <a:pt x="6953" y="179927"/>
                      <a:pt x="4858" y="182690"/>
                      <a:pt x="6953" y="186404"/>
                    </a:cubicBezTo>
                    <a:cubicBezTo>
                      <a:pt x="7525" y="187452"/>
                      <a:pt x="7620" y="189167"/>
                      <a:pt x="7239" y="190310"/>
                    </a:cubicBezTo>
                    <a:cubicBezTo>
                      <a:pt x="5429" y="194691"/>
                      <a:pt x="3810" y="199358"/>
                      <a:pt x="1143" y="203264"/>
                    </a:cubicBezTo>
                    <a:cubicBezTo>
                      <a:pt x="-1905" y="207836"/>
                      <a:pt x="4096" y="212693"/>
                      <a:pt x="0" y="216789"/>
                    </a:cubicBezTo>
                    <a:cubicBezTo>
                      <a:pt x="0" y="216789"/>
                      <a:pt x="381" y="217265"/>
                      <a:pt x="571" y="217646"/>
                    </a:cubicBezTo>
                    <a:cubicBezTo>
                      <a:pt x="2572" y="221456"/>
                      <a:pt x="7239" y="220980"/>
                      <a:pt x="10001" y="221742"/>
                    </a:cubicBezTo>
                    <a:cubicBezTo>
                      <a:pt x="16097" y="223361"/>
                      <a:pt x="22384" y="222980"/>
                      <a:pt x="27718" y="227743"/>
                    </a:cubicBezTo>
                    <a:cubicBezTo>
                      <a:pt x="34290" y="233553"/>
                      <a:pt x="44767" y="230219"/>
                      <a:pt x="51054" y="236982"/>
                    </a:cubicBezTo>
                    <a:cubicBezTo>
                      <a:pt x="51340" y="237268"/>
                      <a:pt x="52673" y="237173"/>
                      <a:pt x="52959" y="236792"/>
                    </a:cubicBezTo>
                    <a:cubicBezTo>
                      <a:pt x="55245" y="234029"/>
                      <a:pt x="57817" y="236125"/>
                      <a:pt x="60293" y="236220"/>
                    </a:cubicBezTo>
                    <a:cubicBezTo>
                      <a:pt x="61817" y="237839"/>
                      <a:pt x="63627" y="237649"/>
                      <a:pt x="65818" y="237649"/>
                    </a:cubicBezTo>
                    <a:cubicBezTo>
                      <a:pt x="70485" y="237649"/>
                      <a:pt x="75248" y="238982"/>
                      <a:pt x="79915" y="239363"/>
                    </a:cubicBezTo>
                    <a:cubicBezTo>
                      <a:pt x="85534" y="239744"/>
                      <a:pt x="90964" y="242888"/>
                      <a:pt x="97060" y="240030"/>
                    </a:cubicBezTo>
                    <a:cubicBezTo>
                      <a:pt x="98489" y="239363"/>
                      <a:pt x="103251" y="237649"/>
                      <a:pt x="104489" y="240030"/>
                    </a:cubicBezTo>
                    <a:cubicBezTo>
                      <a:pt x="106870" y="244697"/>
                      <a:pt x="108490" y="243840"/>
                      <a:pt x="110871" y="239744"/>
                    </a:cubicBezTo>
                    <a:cubicBezTo>
                      <a:pt x="112109" y="242888"/>
                      <a:pt x="112871" y="246507"/>
                      <a:pt x="116205" y="242125"/>
                    </a:cubicBezTo>
                    <a:cubicBezTo>
                      <a:pt x="117919" y="239840"/>
                      <a:pt x="119063" y="242411"/>
                      <a:pt x="120491" y="243078"/>
                    </a:cubicBezTo>
                    <a:cubicBezTo>
                      <a:pt x="121539" y="243459"/>
                      <a:pt x="121920" y="245554"/>
                      <a:pt x="123634" y="244412"/>
                    </a:cubicBezTo>
                    <a:cubicBezTo>
                      <a:pt x="126778" y="248984"/>
                      <a:pt x="130016" y="242983"/>
                      <a:pt x="133255" y="244412"/>
                    </a:cubicBezTo>
                    <a:cubicBezTo>
                      <a:pt x="133636" y="248317"/>
                      <a:pt x="131350" y="248507"/>
                      <a:pt x="128492" y="247745"/>
                    </a:cubicBezTo>
                    <a:cubicBezTo>
                      <a:pt x="127826" y="252127"/>
                      <a:pt x="123253" y="253556"/>
                      <a:pt x="121444" y="257270"/>
                    </a:cubicBezTo>
                    <a:cubicBezTo>
                      <a:pt x="119158" y="262223"/>
                      <a:pt x="116872" y="267843"/>
                      <a:pt x="112966" y="271082"/>
                    </a:cubicBezTo>
                    <a:cubicBezTo>
                      <a:pt x="109538" y="273939"/>
                      <a:pt x="106680" y="276511"/>
                      <a:pt x="105156" y="280702"/>
                    </a:cubicBezTo>
                    <a:cubicBezTo>
                      <a:pt x="101917" y="283369"/>
                      <a:pt x="99441" y="287084"/>
                      <a:pt x="96202" y="289465"/>
                    </a:cubicBezTo>
                    <a:cubicBezTo>
                      <a:pt x="91250" y="293180"/>
                      <a:pt x="89440" y="298514"/>
                      <a:pt x="86582" y="303371"/>
                    </a:cubicBezTo>
                    <a:cubicBezTo>
                      <a:pt x="85153" y="305848"/>
                      <a:pt x="84201" y="307848"/>
                      <a:pt x="81629" y="309658"/>
                    </a:cubicBezTo>
                    <a:cubicBezTo>
                      <a:pt x="78867" y="311658"/>
                      <a:pt x="73533" y="311944"/>
                      <a:pt x="74104" y="317468"/>
                    </a:cubicBezTo>
                    <a:cubicBezTo>
                      <a:pt x="74104" y="317945"/>
                      <a:pt x="73057" y="318707"/>
                      <a:pt x="72295" y="319088"/>
                    </a:cubicBezTo>
                    <a:cubicBezTo>
                      <a:pt x="69056" y="321088"/>
                      <a:pt x="65913" y="322993"/>
                      <a:pt x="64865" y="327184"/>
                    </a:cubicBezTo>
                    <a:cubicBezTo>
                      <a:pt x="64579" y="328613"/>
                      <a:pt x="63437" y="330041"/>
                      <a:pt x="62293" y="330898"/>
                    </a:cubicBezTo>
                    <a:cubicBezTo>
                      <a:pt x="60293" y="332327"/>
                      <a:pt x="55912" y="337185"/>
                      <a:pt x="55435" y="339185"/>
                    </a:cubicBezTo>
                    <a:cubicBezTo>
                      <a:pt x="54578" y="342710"/>
                      <a:pt x="53530" y="346234"/>
                      <a:pt x="52864" y="349758"/>
                    </a:cubicBezTo>
                    <a:cubicBezTo>
                      <a:pt x="51911" y="354711"/>
                      <a:pt x="48958" y="359473"/>
                      <a:pt x="51149" y="364903"/>
                    </a:cubicBezTo>
                    <a:cubicBezTo>
                      <a:pt x="51721" y="366332"/>
                      <a:pt x="50864" y="368332"/>
                      <a:pt x="50959" y="370046"/>
                    </a:cubicBezTo>
                    <a:cubicBezTo>
                      <a:pt x="51244" y="375285"/>
                      <a:pt x="46006" y="380619"/>
                      <a:pt x="51149" y="385953"/>
                    </a:cubicBezTo>
                    <a:cubicBezTo>
                      <a:pt x="51911" y="386810"/>
                      <a:pt x="51530" y="388144"/>
                      <a:pt x="50578" y="388620"/>
                    </a:cubicBezTo>
                    <a:cubicBezTo>
                      <a:pt x="47625" y="389954"/>
                      <a:pt x="49816" y="391573"/>
                      <a:pt x="50578" y="392621"/>
                    </a:cubicBezTo>
                    <a:cubicBezTo>
                      <a:pt x="53912" y="397383"/>
                      <a:pt x="61341" y="394811"/>
                      <a:pt x="64484" y="400241"/>
                    </a:cubicBezTo>
                    <a:cubicBezTo>
                      <a:pt x="64484" y="400241"/>
                      <a:pt x="65913" y="399955"/>
                      <a:pt x="66199" y="399479"/>
                    </a:cubicBezTo>
                    <a:cubicBezTo>
                      <a:pt x="68199" y="396621"/>
                      <a:pt x="71342" y="397478"/>
                      <a:pt x="74009" y="396621"/>
                    </a:cubicBezTo>
                    <a:cubicBezTo>
                      <a:pt x="77343" y="395573"/>
                      <a:pt x="82582" y="395859"/>
                      <a:pt x="81629" y="389573"/>
                    </a:cubicBezTo>
                    <a:cubicBezTo>
                      <a:pt x="81439" y="388334"/>
                      <a:pt x="82772" y="385858"/>
                      <a:pt x="83629" y="385763"/>
                    </a:cubicBezTo>
                    <a:cubicBezTo>
                      <a:pt x="87820" y="385382"/>
                      <a:pt x="87439" y="381571"/>
                      <a:pt x="88868" y="379095"/>
                    </a:cubicBezTo>
                    <a:cubicBezTo>
                      <a:pt x="89630" y="380048"/>
                      <a:pt x="90297" y="380810"/>
                      <a:pt x="90773" y="381476"/>
                    </a:cubicBezTo>
                    <a:cubicBezTo>
                      <a:pt x="95155" y="376523"/>
                      <a:pt x="99346" y="371666"/>
                      <a:pt x="103537" y="366903"/>
                    </a:cubicBezTo>
                    <a:cubicBezTo>
                      <a:pt x="104870" y="365379"/>
                      <a:pt x="106013" y="362712"/>
                      <a:pt x="107537" y="362426"/>
                    </a:cubicBezTo>
                    <a:cubicBezTo>
                      <a:pt x="112776" y="361379"/>
                      <a:pt x="115824" y="357759"/>
                      <a:pt x="117157" y="353568"/>
                    </a:cubicBezTo>
                    <a:cubicBezTo>
                      <a:pt x="118967" y="347853"/>
                      <a:pt x="123253" y="346710"/>
                      <a:pt x="127826" y="345377"/>
                    </a:cubicBezTo>
                    <a:cubicBezTo>
                      <a:pt x="131731" y="344805"/>
                      <a:pt x="129159" y="341852"/>
                      <a:pt x="129826" y="340043"/>
                    </a:cubicBezTo>
                    <a:cubicBezTo>
                      <a:pt x="130874" y="338900"/>
                      <a:pt x="129445" y="334804"/>
                      <a:pt x="133636" y="337375"/>
                    </a:cubicBezTo>
                    <a:cubicBezTo>
                      <a:pt x="134779" y="338042"/>
                      <a:pt x="137065" y="335756"/>
                      <a:pt x="138017" y="333756"/>
                    </a:cubicBezTo>
                    <a:cubicBezTo>
                      <a:pt x="139827" y="329946"/>
                      <a:pt x="141161" y="325755"/>
                      <a:pt x="146018" y="324612"/>
                    </a:cubicBezTo>
                    <a:cubicBezTo>
                      <a:pt x="147066" y="324326"/>
                      <a:pt x="148590" y="324231"/>
                      <a:pt x="147733" y="322421"/>
                    </a:cubicBezTo>
                    <a:cubicBezTo>
                      <a:pt x="150304" y="316135"/>
                      <a:pt x="155639" y="312039"/>
                      <a:pt x="160592" y="308134"/>
                    </a:cubicBezTo>
                    <a:cubicBezTo>
                      <a:pt x="162401" y="306705"/>
                      <a:pt x="165735" y="306324"/>
                      <a:pt x="167069" y="303657"/>
                    </a:cubicBezTo>
                    <a:cubicBezTo>
                      <a:pt x="168116" y="301562"/>
                      <a:pt x="168688" y="299371"/>
                      <a:pt x="171831" y="301181"/>
                    </a:cubicBezTo>
                    <a:cubicBezTo>
                      <a:pt x="172402" y="301466"/>
                      <a:pt x="173545" y="300419"/>
                      <a:pt x="173355" y="299085"/>
                    </a:cubicBezTo>
                    <a:cubicBezTo>
                      <a:pt x="172974" y="296990"/>
                      <a:pt x="174784" y="296704"/>
                      <a:pt x="176117" y="296037"/>
                    </a:cubicBezTo>
                    <a:cubicBezTo>
                      <a:pt x="176308" y="298418"/>
                      <a:pt x="180118" y="298133"/>
                      <a:pt x="179737" y="300800"/>
                    </a:cubicBezTo>
                    <a:cubicBezTo>
                      <a:pt x="178689" y="307467"/>
                      <a:pt x="181737" y="313373"/>
                      <a:pt x="184309" y="318897"/>
                    </a:cubicBezTo>
                    <a:cubicBezTo>
                      <a:pt x="186976" y="324898"/>
                      <a:pt x="188214" y="331089"/>
                      <a:pt x="189547" y="337375"/>
                    </a:cubicBezTo>
                    <a:cubicBezTo>
                      <a:pt x="190595" y="342329"/>
                      <a:pt x="190405" y="347853"/>
                      <a:pt x="192595" y="352139"/>
                    </a:cubicBezTo>
                    <a:cubicBezTo>
                      <a:pt x="195072" y="356997"/>
                      <a:pt x="192595" y="362426"/>
                      <a:pt x="196024" y="367094"/>
                    </a:cubicBezTo>
                    <a:cubicBezTo>
                      <a:pt x="197263" y="368713"/>
                      <a:pt x="197072" y="372237"/>
                      <a:pt x="198596" y="374523"/>
                    </a:cubicBezTo>
                    <a:cubicBezTo>
                      <a:pt x="197834" y="381191"/>
                      <a:pt x="201549" y="387287"/>
                      <a:pt x="201263" y="393859"/>
                    </a:cubicBezTo>
                    <a:cubicBezTo>
                      <a:pt x="201073" y="397383"/>
                      <a:pt x="204121" y="399955"/>
                      <a:pt x="204406" y="403098"/>
                    </a:cubicBezTo>
                    <a:cubicBezTo>
                      <a:pt x="204883" y="407765"/>
                      <a:pt x="205740" y="412052"/>
                      <a:pt x="207931" y="416243"/>
                    </a:cubicBezTo>
                    <a:cubicBezTo>
                      <a:pt x="208978" y="418338"/>
                      <a:pt x="208502" y="421386"/>
                      <a:pt x="211741" y="422053"/>
                    </a:cubicBezTo>
                    <a:cubicBezTo>
                      <a:pt x="208693" y="425387"/>
                      <a:pt x="211360" y="428625"/>
                      <a:pt x="212122" y="431864"/>
                    </a:cubicBezTo>
                    <a:cubicBezTo>
                      <a:pt x="213931" y="438912"/>
                      <a:pt x="216884" y="445389"/>
                      <a:pt x="223266" y="449580"/>
                    </a:cubicBezTo>
                    <a:cubicBezTo>
                      <a:pt x="224790" y="450914"/>
                      <a:pt x="225838" y="453771"/>
                      <a:pt x="228695" y="451580"/>
                    </a:cubicBezTo>
                    <a:lnTo>
                      <a:pt x="228695" y="451580"/>
                    </a:lnTo>
                    <a:cubicBezTo>
                      <a:pt x="230315" y="450533"/>
                      <a:pt x="231934" y="449485"/>
                      <a:pt x="233648" y="451580"/>
                    </a:cubicBezTo>
                    <a:cubicBezTo>
                      <a:pt x="234220" y="452342"/>
                      <a:pt x="241554" y="449866"/>
                      <a:pt x="241840" y="448913"/>
                    </a:cubicBezTo>
                    <a:cubicBezTo>
                      <a:pt x="244602" y="440531"/>
                      <a:pt x="245173" y="431959"/>
                      <a:pt x="244030" y="423386"/>
                    </a:cubicBezTo>
                    <a:cubicBezTo>
                      <a:pt x="243173" y="417100"/>
                      <a:pt x="241745" y="410813"/>
                      <a:pt x="240601" y="404622"/>
                    </a:cubicBezTo>
                    <a:cubicBezTo>
                      <a:pt x="239459" y="398621"/>
                      <a:pt x="242221" y="391954"/>
                      <a:pt x="237172" y="386620"/>
                    </a:cubicBezTo>
                    <a:cubicBezTo>
                      <a:pt x="236792" y="386239"/>
                      <a:pt x="236982" y="385286"/>
                      <a:pt x="236982" y="384620"/>
                    </a:cubicBezTo>
                    <a:cubicBezTo>
                      <a:pt x="237268" y="376714"/>
                      <a:pt x="235172" y="369284"/>
                      <a:pt x="232981" y="361855"/>
                    </a:cubicBezTo>
                    <a:cubicBezTo>
                      <a:pt x="235077" y="357759"/>
                      <a:pt x="229648" y="354235"/>
                      <a:pt x="232029" y="350044"/>
                    </a:cubicBezTo>
                    <a:cubicBezTo>
                      <a:pt x="226409" y="342043"/>
                      <a:pt x="226123" y="332232"/>
                      <a:pt x="223456" y="323279"/>
                    </a:cubicBezTo>
                    <a:cubicBezTo>
                      <a:pt x="220409" y="313182"/>
                      <a:pt x="215360" y="304038"/>
                      <a:pt x="212503" y="294037"/>
                    </a:cubicBezTo>
                    <a:cubicBezTo>
                      <a:pt x="211741" y="291275"/>
                      <a:pt x="210217" y="287274"/>
                      <a:pt x="212217" y="285655"/>
                    </a:cubicBezTo>
                    <a:cubicBezTo>
                      <a:pt x="214694" y="283750"/>
                      <a:pt x="218885" y="288227"/>
                      <a:pt x="222123" y="284988"/>
                    </a:cubicBezTo>
                    <a:cubicBezTo>
                      <a:pt x="224599" y="290703"/>
                      <a:pt x="230695" y="290036"/>
                      <a:pt x="234410" y="289560"/>
                    </a:cubicBezTo>
                    <a:cubicBezTo>
                      <a:pt x="239649" y="288893"/>
                      <a:pt x="244030" y="291370"/>
                      <a:pt x="249079" y="291179"/>
                    </a:cubicBezTo>
                    <a:cubicBezTo>
                      <a:pt x="255175" y="290989"/>
                      <a:pt x="261556" y="292132"/>
                      <a:pt x="267843" y="292227"/>
                    </a:cubicBezTo>
                    <a:cubicBezTo>
                      <a:pt x="269367" y="292227"/>
                      <a:pt x="270891" y="290608"/>
                      <a:pt x="272701" y="291560"/>
                    </a:cubicBezTo>
                    <a:cubicBezTo>
                      <a:pt x="275939" y="293370"/>
                      <a:pt x="279749" y="290132"/>
                      <a:pt x="282893" y="292798"/>
                    </a:cubicBezTo>
                    <a:cubicBezTo>
                      <a:pt x="283083" y="292989"/>
                      <a:pt x="283750" y="291941"/>
                      <a:pt x="283464" y="291179"/>
                    </a:cubicBezTo>
                    <a:cubicBezTo>
                      <a:pt x="283178" y="290513"/>
                      <a:pt x="282131" y="289655"/>
                      <a:pt x="283464" y="289179"/>
                    </a:cubicBezTo>
                    <a:cubicBezTo>
                      <a:pt x="284226" y="288893"/>
                      <a:pt x="285179" y="289084"/>
                      <a:pt x="285560" y="290132"/>
                    </a:cubicBezTo>
                    <a:cubicBezTo>
                      <a:pt x="286226" y="291751"/>
                      <a:pt x="287179" y="291465"/>
                      <a:pt x="288893" y="291656"/>
                    </a:cubicBezTo>
                    <a:cubicBezTo>
                      <a:pt x="296132" y="292418"/>
                      <a:pt x="302419" y="287655"/>
                      <a:pt x="309944" y="288893"/>
                    </a:cubicBezTo>
                    <a:cubicBezTo>
                      <a:pt x="313468" y="289465"/>
                      <a:pt x="319849" y="288417"/>
                      <a:pt x="322421" y="283083"/>
                    </a:cubicBezTo>
                    <a:cubicBezTo>
                      <a:pt x="322802" y="282226"/>
                      <a:pt x="323755" y="281845"/>
                      <a:pt x="324517" y="282797"/>
                    </a:cubicBezTo>
                    <a:cubicBezTo>
                      <a:pt x="327184" y="286417"/>
                      <a:pt x="330803" y="284702"/>
                      <a:pt x="333756" y="283940"/>
                    </a:cubicBezTo>
                    <a:cubicBezTo>
                      <a:pt x="336995" y="283178"/>
                      <a:pt x="339376" y="283940"/>
                      <a:pt x="341567" y="285941"/>
                    </a:cubicBezTo>
                    <a:cubicBezTo>
                      <a:pt x="343567" y="286417"/>
                      <a:pt x="344615" y="285083"/>
                      <a:pt x="345853" y="283940"/>
                    </a:cubicBezTo>
                    <a:cubicBezTo>
                      <a:pt x="346043" y="284512"/>
                      <a:pt x="346139" y="285750"/>
                      <a:pt x="346996" y="284988"/>
                    </a:cubicBezTo>
                    <a:cubicBezTo>
                      <a:pt x="348234" y="284036"/>
                      <a:pt x="346424" y="282893"/>
                      <a:pt x="346710" y="281750"/>
                    </a:cubicBezTo>
                    <a:cubicBezTo>
                      <a:pt x="351282" y="278606"/>
                      <a:pt x="356807" y="282035"/>
                      <a:pt x="361474" y="279559"/>
                    </a:cubicBezTo>
                    <a:cubicBezTo>
                      <a:pt x="364331" y="281369"/>
                      <a:pt x="363093" y="278511"/>
                      <a:pt x="363569" y="277749"/>
                    </a:cubicBezTo>
                    <a:cubicBezTo>
                      <a:pt x="366617" y="275939"/>
                      <a:pt x="367665" y="273177"/>
                      <a:pt x="366046" y="270129"/>
                    </a:cubicBezTo>
                    <a:cubicBezTo>
                      <a:pt x="364522" y="267367"/>
                      <a:pt x="364236" y="265462"/>
                      <a:pt x="366903" y="263271"/>
                    </a:cubicBezTo>
                    <a:cubicBezTo>
                      <a:pt x="368522" y="262033"/>
                      <a:pt x="369094" y="259461"/>
                      <a:pt x="367951" y="257556"/>
                    </a:cubicBezTo>
                    <a:moveTo>
                      <a:pt x="155543" y="115348"/>
                    </a:moveTo>
                    <a:cubicBezTo>
                      <a:pt x="157067" y="115443"/>
                      <a:pt x="157734" y="116205"/>
                      <a:pt x="157448" y="117729"/>
                    </a:cubicBezTo>
                    <a:cubicBezTo>
                      <a:pt x="157353" y="118396"/>
                      <a:pt x="157163" y="119253"/>
                      <a:pt x="156305" y="119158"/>
                    </a:cubicBezTo>
                    <a:cubicBezTo>
                      <a:pt x="154876" y="118967"/>
                      <a:pt x="154495" y="117824"/>
                      <a:pt x="154115" y="116586"/>
                    </a:cubicBezTo>
                    <a:cubicBezTo>
                      <a:pt x="153638" y="115062"/>
                      <a:pt x="154876" y="115443"/>
                      <a:pt x="155543" y="115348"/>
                    </a:cubicBezTo>
                    <a:moveTo>
                      <a:pt x="158591" y="155543"/>
                    </a:moveTo>
                    <a:cubicBezTo>
                      <a:pt x="157544" y="156020"/>
                      <a:pt x="156305" y="156020"/>
                      <a:pt x="155353" y="156877"/>
                    </a:cubicBezTo>
                    <a:cubicBezTo>
                      <a:pt x="152305" y="159544"/>
                      <a:pt x="150876" y="158687"/>
                      <a:pt x="149447" y="154591"/>
                    </a:cubicBezTo>
                    <a:cubicBezTo>
                      <a:pt x="145733" y="143923"/>
                      <a:pt x="145923" y="132302"/>
                      <a:pt x="141161" y="121920"/>
                    </a:cubicBezTo>
                    <a:cubicBezTo>
                      <a:pt x="140779" y="121063"/>
                      <a:pt x="141446" y="119634"/>
                      <a:pt x="141637" y="118491"/>
                    </a:cubicBezTo>
                    <a:lnTo>
                      <a:pt x="143066" y="118491"/>
                    </a:lnTo>
                    <a:cubicBezTo>
                      <a:pt x="146399" y="121063"/>
                      <a:pt x="145733" y="127159"/>
                      <a:pt x="151257" y="127921"/>
                    </a:cubicBezTo>
                    <a:cubicBezTo>
                      <a:pt x="151352" y="127921"/>
                      <a:pt x="151543" y="128492"/>
                      <a:pt x="151543" y="128683"/>
                    </a:cubicBezTo>
                    <a:cubicBezTo>
                      <a:pt x="149543" y="134017"/>
                      <a:pt x="154305" y="136208"/>
                      <a:pt x="156972" y="138303"/>
                    </a:cubicBezTo>
                    <a:cubicBezTo>
                      <a:pt x="160782" y="141161"/>
                      <a:pt x="162877" y="144971"/>
                      <a:pt x="163830" y="148876"/>
                    </a:cubicBezTo>
                    <a:cubicBezTo>
                      <a:pt x="164306" y="150876"/>
                      <a:pt x="161449" y="154210"/>
                      <a:pt x="158591" y="155543"/>
                    </a:cubicBezTo>
                    <a:moveTo>
                      <a:pt x="228028" y="149257"/>
                    </a:moveTo>
                    <a:cubicBezTo>
                      <a:pt x="224504" y="153352"/>
                      <a:pt x="222409" y="159734"/>
                      <a:pt x="218503" y="161735"/>
                    </a:cubicBezTo>
                    <a:cubicBezTo>
                      <a:pt x="210979" y="165735"/>
                      <a:pt x="211169" y="173450"/>
                      <a:pt x="206978" y="178689"/>
                    </a:cubicBezTo>
                    <a:cubicBezTo>
                      <a:pt x="206597" y="179165"/>
                      <a:pt x="206216" y="180404"/>
                      <a:pt x="206026" y="180404"/>
                    </a:cubicBezTo>
                    <a:cubicBezTo>
                      <a:pt x="198120" y="178879"/>
                      <a:pt x="196596" y="188690"/>
                      <a:pt x="189643" y="189548"/>
                    </a:cubicBezTo>
                    <a:cubicBezTo>
                      <a:pt x="187643" y="189833"/>
                      <a:pt x="187928" y="195453"/>
                      <a:pt x="185642" y="198025"/>
                    </a:cubicBezTo>
                    <a:cubicBezTo>
                      <a:pt x="184499" y="199358"/>
                      <a:pt x="184499" y="201549"/>
                      <a:pt x="182690" y="202597"/>
                    </a:cubicBezTo>
                    <a:cubicBezTo>
                      <a:pt x="182690" y="201073"/>
                      <a:pt x="182690" y="199549"/>
                      <a:pt x="180689" y="199168"/>
                    </a:cubicBezTo>
                    <a:cubicBezTo>
                      <a:pt x="179451" y="197072"/>
                      <a:pt x="178498" y="194786"/>
                      <a:pt x="176403" y="193453"/>
                    </a:cubicBezTo>
                    <a:cubicBezTo>
                      <a:pt x="176403" y="189262"/>
                      <a:pt x="179642" y="187166"/>
                      <a:pt x="182023" y="184404"/>
                    </a:cubicBezTo>
                    <a:cubicBezTo>
                      <a:pt x="183261" y="182975"/>
                      <a:pt x="186309" y="182499"/>
                      <a:pt x="184880" y="179261"/>
                    </a:cubicBezTo>
                    <a:cubicBezTo>
                      <a:pt x="184404" y="178213"/>
                      <a:pt x="185356" y="178118"/>
                      <a:pt x="186214" y="178879"/>
                    </a:cubicBezTo>
                    <a:cubicBezTo>
                      <a:pt x="187547" y="180023"/>
                      <a:pt x="188023" y="178213"/>
                      <a:pt x="188500" y="177641"/>
                    </a:cubicBezTo>
                    <a:cubicBezTo>
                      <a:pt x="190310" y="175546"/>
                      <a:pt x="189643" y="170879"/>
                      <a:pt x="194500" y="171736"/>
                    </a:cubicBezTo>
                    <a:cubicBezTo>
                      <a:pt x="196787" y="165068"/>
                      <a:pt x="203740" y="162116"/>
                      <a:pt x="207073" y="155829"/>
                    </a:cubicBezTo>
                    <a:cubicBezTo>
                      <a:pt x="209550" y="151257"/>
                      <a:pt x="214408" y="147542"/>
                      <a:pt x="218313" y="143542"/>
                    </a:cubicBezTo>
                    <a:cubicBezTo>
                      <a:pt x="222314" y="139446"/>
                      <a:pt x="225552" y="134874"/>
                      <a:pt x="229267" y="130588"/>
                    </a:cubicBezTo>
                    <a:cubicBezTo>
                      <a:pt x="233553" y="125635"/>
                      <a:pt x="235553" y="119158"/>
                      <a:pt x="240316" y="114871"/>
                    </a:cubicBezTo>
                    <a:cubicBezTo>
                      <a:pt x="243649" y="111823"/>
                      <a:pt x="247078" y="108966"/>
                      <a:pt x="249936" y="105346"/>
                    </a:cubicBezTo>
                    <a:cubicBezTo>
                      <a:pt x="253460" y="100965"/>
                      <a:pt x="257461" y="96869"/>
                      <a:pt x="262795" y="94107"/>
                    </a:cubicBezTo>
                    <a:cubicBezTo>
                      <a:pt x="266795" y="92012"/>
                      <a:pt x="268224" y="86677"/>
                      <a:pt x="272129" y="84201"/>
                    </a:cubicBezTo>
                    <a:cubicBezTo>
                      <a:pt x="274511" y="84582"/>
                      <a:pt x="275749" y="83725"/>
                      <a:pt x="275368" y="81153"/>
                    </a:cubicBezTo>
                    <a:cubicBezTo>
                      <a:pt x="276320" y="81725"/>
                      <a:pt x="278035" y="79915"/>
                      <a:pt x="278320" y="81820"/>
                    </a:cubicBezTo>
                    <a:cubicBezTo>
                      <a:pt x="278511" y="83153"/>
                      <a:pt x="279083" y="85249"/>
                      <a:pt x="277273" y="85916"/>
                    </a:cubicBezTo>
                    <a:cubicBezTo>
                      <a:pt x="271653" y="88106"/>
                      <a:pt x="270034" y="94012"/>
                      <a:pt x="266319" y="97917"/>
                    </a:cubicBezTo>
                    <a:cubicBezTo>
                      <a:pt x="262890" y="101537"/>
                      <a:pt x="259651" y="105632"/>
                      <a:pt x="256889" y="109728"/>
                    </a:cubicBezTo>
                    <a:cubicBezTo>
                      <a:pt x="253651" y="114300"/>
                      <a:pt x="249841" y="118491"/>
                      <a:pt x="247174" y="123349"/>
                    </a:cubicBezTo>
                    <a:cubicBezTo>
                      <a:pt x="245936" y="123635"/>
                      <a:pt x="245459" y="124587"/>
                      <a:pt x="245173" y="125730"/>
                    </a:cubicBezTo>
                    <a:cubicBezTo>
                      <a:pt x="242888" y="126016"/>
                      <a:pt x="244793" y="129635"/>
                      <a:pt x="242125" y="129635"/>
                    </a:cubicBezTo>
                    <a:cubicBezTo>
                      <a:pt x="242125" y="128969"/>
                      <a:pt x="242125" y="128016"/>
                      <a:pt x="241268" y="128397"/>
                    </a:cubicBezTo>
                    <a:cubicBezTo>
                      <a:pt x="239363" y="129254"/>
                      <a:pt x="241268" y="130778"/>
                      <a:pt x="240887" y="131921"/>
                    </a:cubicBezTo>
                    <a:cubicBezTo>
                      <a:pt x="233744" y="135636"/>
                      <a:pt x="232886" y="143923"/>
                      <a:pt x="228314" y="149257"/>
                    </a:cubicBezTo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8A8069C7-3F86-5A17-38ED-AAD689FDC004}"/>
                  </a:ext>
                </a:extLst>
              </p:cNvPr>
              <p:cNvSpPr/>
              <p:nvPr/>
            </p:nvSpPr>
            <p:spPr>
              <a:xfrm>
                <a:off x="11226339" y="6219846"/>
                <a:ext cx="512041" cy="776474"/>
              </a:xfrm>
              <a:custGeom>
                <a:avLst/>
                <a:gdLst>
                  <a:gd name="connsiteX0" fmla="*/ 468035 w 512041"/>
                  <a:gd name="connsiteY0" fmla="*/ 583116 h 776474"/>
                  <a:gd name="connsiteX1" fmla="*/ 467945 w 512041"/>
                  <a:gd name="connsiteY1" fmla="*/ 583143 h 776474"/>
                  <a:gd name="connsiteX2" fmla="*/ 468894 w 512041"/>
                  <a:gd name="connsiteY2" fmla="*/ 588831 h 776474"/>
                  <a:gd name="connsiteX3" fmla="*/ 467101 w 512041"/>
                  <a:gd name="connsiteY3" fmla="*/ 585493 h 776474"/>
                  <a:gd name="connsiteX4" fmla="*/ 468893 w 512041"/>
                  <a:gd name="connsiteY4" fmla="*/ 588831 h 776474"/>
                  <a:gd name="connsiteX5" fmla="*/ 468894 w 512041"/>
                  <a:gd name="connsiteY5" fmla="*/ 588831 h 776474"/>
                  <a:gd name="connsiteX6" fmla="*/ 468988 w 512041"/>
                  <a:gd name="connsiteY6" fmla="*/ 588831 h 776474"/>
                  <a:gd name="connsiteX7" fmla="*/ 468035 w 512041"/>
                  <a:gd name="connsiteY7" fmla="*/ 583116 h 776474"/>
                  <a:gd name="connsiteX8" fmla="*/ 457368 w 512041"/>
                  <a:gd name="connsiteY8" fmla="*/ 573019 h 776474"/>
                  <a:gd name="connsiteX9" fmla="*/ 449843 w 512041"/>
                  <a:gd name="connsiteY9" fmla="*/ 576162 h 776474"/>
                  <a:gd name="connsiteX10" fmla="*/ 449844 w 512041"/>
                  <a:gd name="connsiteY10" fmla="*/ 576163 h 776474"/>
                  <a:gd name="connsiteX11" fmla="*/ 453142 w 512041"/>
                  <a:gd name="connsiteY11" fmla="*/ 574128 h 776474"/>
                  <a:gd name="connsiteX12" fmla="*/ 457368 w 512041"/>
                  <a:gd name="connsiteY12" fmla="*/ 573020 h 776474"/>
                  <a:gd name="connsiteX13" fmla="*/ 251628 w 512041"/>
                  <a:gd name="connsiteY13" fmla="*/ 544349 h 776474"/>
                  <a:gd name="connsiteX14" fmla="*/ 250675 w 512041"/>
                  <a:gd name="connsiteY14" fmla="*/ 552255 h 776474"/>
                  <a:gd name="connsiteX15" fmla="*/ 250676 w 512041"/>
                  <a:gd name="connsiteY15" fmla="*/ 552253 h 776474"/>
                  <a:gd name="connsiteX16" fmla="*/ 50174 w 512041"/>
                  <a:gd name="connsiteY16" fmla="*/ 541301 h 776474"/>
                  <a:gd name="connsiteX17" fmla="*/ 51222 w 512041"/>
                  <a:gd name="connsiteY17" fmla="*/ 547111 h 776474"/>
                  <a:gd name="connsiteX18" fmla="*/ 50174 w 512041"/>
                  <a:gd name="connsiteY18" fmla="*/ 541301 h 776474"/>
                  <a:gd name="connsiteX19" fmla="*/ 447843 w 512041"/>
                  <a:gd name="connsiteY19" fmla="*/ 531204 h 776474"/>
                  <a:gd name="connsiteX20" fmla="*/ 447843 w 512041"/>
                  <a:gd name="connsiteY20" fmla="*/ 538443 h 776474"/>
                  <a:gd name="connsiteX21" fmla="*/ 447938 w 512041"/>
                  <a:gd name="connsiteY21" fmla="*/ 538090 h 776474"/>
                  <a:gd name="connsiteX22" fmla="*/ 447938 w 512041"/>
                  <a:gd name="connsiteY22" fmla="*/ 531653 h 776474"/>
                  <a:gd name="connsiteX23" fmla="*/ 373738 w 512041"/>
                  <a:gd name="connsiteY23" fmla="*/ 497391 h 776474"/>
                  <a:gd name="connsiteX24" fmla="*/ 371547 w 512041"/>
                  <a:gd name="connsiteY24" fmla="*/ 499581 h 776474"/>
                  <a:gd name="connsiteX25" fmla="*/ 372404 w 512041"/>
                  <a:gd name="connsiteY25" fmla="*/ 502534 h 776474"/>
                  <a:gd name="connsiteX26" fmla="*/ 372404 w 512041"/>
                  <a:gd name="connsiteY26" fmla="*/ 502629 h 776474"/>
                  <a:gd name="connsiteX27" fmla="*/ 374976 w 512041"/>
                  <a:gd name="connsiteY27" fmla="*/ 499391 h 776474"/>
                  <a:gd name="connsiteX28" fmla="*/ 374952 w 512041"/>
                  <a:gd name="connsiteY28" fmla="*/ 499351 h 776474"/>
                  <a:gd name="connsiteX29" fmla="*/ 372500 w 512041"/>
                  <a:gd name="connsiteY29" fmla="*/ 502439 h 776474"/>
                  <a:gd name="connsiteX30" fmla="*/ 371643 w 512041"/>
                  <a:gd name="connsiteY30" fmla="*/ 499486 h 776474"/>
                  <a:gd name="connsiteX31" fmla="*/ 373738 w 512041"/>
                  <a:gd name="connsiteY31" fmla="*/ 497391 h 776474"/>
                  <a:gd name="connsiteX32" fmla="*/ 359260 w 512041"/>
                  <a:gd name="connsiteY32" fmla="*/ 480341 h 776474"/>
                  <a:gd name="connsiteX33" fmla="*/ 357164 w 512041"/>
                  <a:gd name="connsiteY33" fmla="*/ 481674 h 776474"/>
                  <a:gd name="connsiteX34" fmla="*/ 361070 w 512041"/>
                  <a:gd name="connsiteY34" fmla="*/ 486532 h 776474"/>
                  <a:gd name="connsiteX35" fmla="*/ 361165 w 512041"/>
                  <a:gd name="connsiteY35" fmla="*/ 486532 h 776474"/>
                  <a:gd name="connsiteX36" fmla="*/ 357260 w 512041"/>
                  <a:gd name="connsiteY36" fmla="*/ 481675 h 776474"/>
                  <a:gd name="connsiteX37" fmla="*/ 359276 w 512041"/>
                  <a:gd name="connsiteY37" fmla="*/ 480391 h 776474"/>
                  <a:gd name="connsiteX38" fmla="*/ 351354 w 512041"/>
                  <a:gd name="connsiteY38" fmla="*/ 471959 h 776474"/>
                  <a:gd name="connsiteX39" fmla="*/ 348592 w 512041"/>
                  <a:gd name="connsiteY39" fmla="*/ 473769 h 776474"/>
                  <a:gd name="connsiteX40" fmla="*/ 351450 w 512041"/>
                  <a:gd name="connsiteY40" fmla="*/ 476817 h 776474"/>
                  <a:gd name="connsiteX41" fmla="*/ 351578 w 512041"/>
                  <a:gd name="connsiteY41" fmla="*/ 476750 h 776474"/>
                  <a:gd name="connsiteX42" fmla="*/ 348783 w 512041"/>
                  <a:gd name="connsiteY42" fmla="*/ 473769 h 776474"/>
                  <a:gd name="connsiteX43" fmla="*/ 351413 w 512041"/>
                  <a:gd name="connsiteY43" fmla="*/ 472045 h 776474"/>
                  <a:gd name="connsiteX44" fmla="*/ 76273 w 512041"/>
                  <a:gd name="connsiteY44" fmla="*/ 434145 h 776474"/>
                  <a:gd name="connsiteX45" fmla="*/ 87131 w 512041"/>
                  <a:gd name="connsiteY45" fmla="*/ 444242 h 776474"/>
                  <a:gd name="connsiteX46" fmla="*/ 87417 w 512041"/>
                  <a:gd name="connsiteY46" fmla="*/ 444242 h 776474"/>
                  <a:gd name="connsiteX47" fmla="*/ 87703 w 512041"/>
                  <a:gd name="connsiteY47" fmla="*/ 465482 h 776474"/>
                  <a:gd name="connsiteX48" fmla="*/ 80559 w 512041"/>
                  <a:gd name="connsiteY48" fmla="*/ 489199 h 776474"/>
                  <a:gd name="connsiteX49" fmla="*/ 76273 w 512041"/>
                  <a:gd name="connsiteY49" fmla="*/ 497772 h 776474"/>
                  <a:gd name="connsiteX50" fmla="*/ 76844 w 512041"/>
                  <a:gd name="connsiteY50" fmla="*/ 500629 h 776474"/>
                  <a:gd name="connsiteX51" fmla="*/ 73891 w 512041"/>
                  <a:gd name="connsiteY51" fmla="*/ 507488 h 776474"/>
                  <a:gd name="connsiteX52" fmla="*/ 71510 w 512041"/>
                  <a:gd name="connsiteY52" fmla="*/ 511202 h 776474"/>
                  <a:gd name="connsiteX53" fmla="*/ 63033 w 512041"/>
                  <a:gd name="connsiteY53" fmla="*/ 525299 h 776474"/>
                  <a:gd name="connsiteX54" fmla="*/ 50269 w 512041"/>
                  <a:gd name="connsiteY54" fmla="*/ 541206 h 776474"/>
                  <a:gd name="connsiteX55" fmla="*/ 49412 w 512041"/>
                  <a:gd name="connsiteY55" fmla="*/ 541587 h 776474"/>
                  <a:gd name="connsiteX56" fmla="*/ 32267 w 512041"/>
                  <a:gd name="connsiteY56" fmla="*/ 570257 h 776474"/>
                  <a:gd name="connsiteX57" fmla="*/ 29314 w 512041"/>
                  <a:gd name="connsiteY57" fmla="*/ 573686 h 776474"/>
                  <a:gd name="connsiteX58" fmla="*/ 21028 w 512041"/>
                  <a:gd name="connsiteY58" fmla="*/ 579497 h 776474"/>
                  <a:gd name="connsiteX59" fmla="*/ 9979 w 512041"/>
                  <a:gd name="connsiteY59" fmla="*/ 569400 h 776474"/>
                  <a:gd name="connsiteX60" fmla="*/ 11979 w 512041"/>
                  <a:gd name="connsiteY60" fmla="*/ 548064 h 776474"/>
                  <a:gd name="connsiteX61" fmla="*/ 15408 w 512041"/>
                  <a:gd name="connsiteY61" fmla="*/ 520061 h 776474"/>
                  <a:gd name="connsiteX62" fmla="*/ 26933 w 512041"/>
                  <a:gd name="connsiteY62" fmla="*/ 491581 h 776474"/>
                  <a:gd name="connsiteX63" fmla="*/ 37506 w 512041"/>
                  <a:gd name="connsiteY63" fmla="*/ 476626 h 776474"/>
                  <a:gd name="connsiteX64" fmla="*/ 54651 w 512041"/>
                  <a:gd name="connsiteY64" fmla="*/ 452623 h 776474"/>
                  <a:gd name="connsiteX65" fmla="*/ 65890 w 512041"/>
                  <a:gd name="connsiteY65" fmla="*/ 441479 h 776474"/>
                  <a:gd name="connsiteX66" fmla="*/ 76273 w 512041"/>
                  <a:gd name="connsiteY66" fmla="*/ 434145 h 776474"/>
                  <a:gd name="connsiteX67" fmla="*/ 337484 w 512041"/>
                  <a:gd name="connsiteY67" fmla="*/ 428358 h 776474"/>
                  <a:gd name="connsiteX68" fmla="*/ 340591 w 512041"/>
                  <a:gd name="connsiteY68" fmla="*/ 431668 h 776474"/>
                  <a:gd name="connsiteX69" fmla="*/ 348687 w 512041"/>
                  <a:gd name="connsiteY69" fmla="*/ 432906 h 776474"/>
                  <a:gd name="connsiteX70" fmla="*/ 350021 w 512041"/>
                  <a:gd name="connsiteY70" fmla="*/ 431859 h 776474"/>
                  <a:gd name="connsiteX71" fmla="*/ 363260 w 512041"/>
                  <a:gd name="connsiteY71" fmla="*/ 440431 h 776474"/>
                  <a:gd name="connsiteX72" fmla="*/ 370214 w 512041"/>
                  <a:gd name="connsiteY72" fmla="*/ 448623 h 776474"/>
                  <a:gd name="connsiteX73" fmla="*/ 381453 w 512041"/>
                  <a:gd name="connsiteY73" fmla="*/ 462720 h 776474"/>
                  <a:gd name="connsiteX74" fmla="*/ 383739 w 512041"/>
                  <a:gd name="connsiteY74" fmla="*/ 465482 h 776474"/>
                  <a:gd name="connsiteX75" fmla="*/ 410600 w 512041"/>
                  <a:gd name="connsiteY75" fmla="*/ 489009 h 776474"/>
                  <a:gd name="connsiteX76" fmla="*/ 414314 w 512041"/>
                  <a:gd name="connsiteY76" fmla="*/ 496248 h 776474"/>
                  <a:gd name="connsiteX77" fmla="*/ 422220 w 512041"/>
                  <a:gd name="connsiteY77" fmla="*/ 502058 h 776474"/>
                  <a:gd name="connsiteX78" fmla="*/ 428602 w 512041"/>
                  <a:gd name="connsiteY78" fmla="*/ 507487 h 776474"/>
                  <a:gd name="connsiteX79" fmla="*/ 454796 w 512041"/>
                  <a:gd name="connsiteY79" fmla="*/ 529395 h 776474"/>
                  <a:gd name="connsiteX80" fmla="*/ 458987 w 512041"/>
                  <a:gd name="connsiteY80" fmla="*/ 535586 h 776474"/>
                  <a:gd name="connsiteX81" fmla="*/ 466893 w 512041"/>
                  <a:gd name="connsiteY81" fmla="*/ 542730 h 776474"/>
                  <a:gd name="connsiteX82" fmla="*/ 466797 w 512041"/>
                  <a:gd name="connsiteY82" fmla="*/ 542730 h 776474"/>
                  <a:gd name="connsiteX83" fmla="*/ 469560 w 512041"/>
                  <a:gd name="connsiteY83" fmla="*/ 543777 h 776474"/>
                  <a:gd name="connsiteX84" fmla="*/ 478989 w 512041"/>
                  <a:gd name="connsiteY84" fmla="*/ 582354 h 776474"/>
                  <a:gd name="connsiteX85" fmla="*/ 476227 w 512041"/>
                  <a:gd name="connsiteY85" fmla="*/ 600832 h 776474"/>
                  <a:gd name="connsiteX86" fmla="*/ 473274 w 512041"/>
                  <a:gd name="connsiteY86" fmla="*/ 602642 h 776474"/>
                  <a:gd name="connsiteX87" fmla="*/ 445461 w 512041"/>
                  <a:gd name="connsiteY87" fmla="*/ 596070 h 776474"/>
                  <a:gd name="connsiteX88" fmla="*/ 433269 w 512041"/>
                  <a:gd name="connsiteY88" fmla="*/ 591117 h 776474"/>
                  <a:gd name="connsiteX89" fmla="*/ 417362 w 512041"/>
                  <a:gd name="connsiteY89" fmla="*/ 577305 h 776474"/>
                  <a:gd name="connsiteX90" fmla="*/ 414886 w 512041"/>
                  <a:gd name="connsiteY90" fmla="*/ 574734 h 776474"/>
                  <a:gd name="connsiteX91" fmla="*/ 405171 w 512041"/>
                  <a:gd name="connsiteY91" fmla="*/ 568257 h 776474"/>
                  <a:gd name="connsiteX92" fmla="*/ 390121 w 512041"/>
                  <a:gd name="connsiteY92" fmla="*/ 554350 h 776474"/>
                  <a:gd name="connsiteX93" fmla="*/ 378215 w 512041"/>
                  <a:gd name="connsiteY93" fmla="*/ 542634 h 776474"/>
                  <a:gd name="connsiteX94" fmla="*/ 355545 w 512041"/>
                  <a:gd name="connsiteY94" fmla="*/ 511297 h 776474"/>
                  <a:gd name="connsiteX95" fmla="*/ 337924 w 512041"/>
                  <a:gd name="connsiteY95" fmla="*/ 491390 h 776474"/>
                  <a:gd name="connsiteX96" fmla="*/ 329447 w 512041"/>
                  <a:gd name="connsiteY96" fmla="*/ 472054 h 776474"/>
                  <a:gd name="connsiteX97" fmla="*/ 331066 w 512041"/>
                  <a:gd name="connsiteY97" fmla="*/ 468244 h 776474"/>
                  <a:gd name="connsiteX98" fmla="*/ 330971 w 512041"/>
                  <a:gd name="connsiteY98" fmla="*/ 465958 h 776474"/>
                  <a:gd name="connsiteX99" fmla="*/ 329733 w 512041"/>
                  <a:gd name="connsiteY99" fmla="*/ 463101 h 776474"/>
                  <a:gd name="connsiteX100" fmla="*/ 331542 w 512041"/>
                  <a:gd name="connsiteY100" fmla="*/ 440336 h 776474"/>
                  <a:gd name="connsiteX101" fmla="*/ 334304 w 512041"/>
                  <a:gd name="connsiteY101" fmla="*/ 431478 h 776474"/>
                  <a:gd name="connsiteX102" fmla="*/ 337484 w 512041"/>
                  <a:gd name="connsiteY102" fmla="*/ 428358 h 776474"/>
                  <a:gd name="connsiteX103" fmla="*/ 307445 w 512041"/>
                  <a:gd name="connsiteY103" fmla="*/ 252503 h 776474"/>
                  <a:gd name="connsiteX104" fmla="*/ 307540 w 512041"/>
                  <a:gd name="connsiteY104" fmla="*/ 252503 h 776474"/>
                  <a:gd name="connsiteX105" fmla="*/ 307505 w 512041"/>
                  <a:gd name="connsiteY105" fmla="*/ 252555 h 776474"/>
                  <a:gd name="connsiteX106" fmla="*/ 307444 w 512041"/>
                  <a:gd name="connsiteY106" fmla="*/ 252218 h 776474"/>
                  <a:gd name="connsiteX107" fmla="*/ 305920 w 512041"/>
                  <a:gd name="connsiteY107" fmla="*/ 254599 h 776474"/>
                  <a:gd name="connsiteX108" fmla="*/ 306068 w 512041"/>
                  <a:gd name="connsiteY108" fmla="*/ 254711 h 776474"/>
                  <a:gd name="connsiteX109" fmla="*/ 307505 w 512041"/>
                  <a:gd name="connsiteY109" fmla="*/ 252555 h 776474"/>
                  <a:gd name="connsiteX110" fmla="*/ 309672 w 512041"/>
                  <a:gd name="connsiteY110" fmla="*/ 254452 h 776474"/>
                  <a:gd name="connsiteX111" fmla="*/ 309730 w 512041"/>
                  <a:gd name="connsiteY111" fmla="*/ 254218 h 776474"/>
                  <a:gd name="connsiteX112" fmla="*/ 307444 w 512041"/>
                  <a:gd name="connsiteY112" fmla="*/ 252218 h 776474"/>
                  <a:gd name="connsiteX113" fmla="*/ 227148 w 512041"/>
                  <a:gd name="connsiteY113" fmla="*/ 202307 h 776474"/>
                  <a:gd name="connsiteX114" fmla="*/ 225625 w 512041"/>
                  <a:gd name="connsiteY114" fmla="*/ 207641 h 776474"/>
                  <a:gd name="connsiteX115" fmla="*/ 215528 w 512041"/>
                  <a:gd name="connsiteY115" fmla="*/ 246122 h 776474"/>
                  <a:gd name="connsiteX116" fmla="*/ 206860 w 512041"/>
                  <a:gd name="connsiteY116" fmla="*/ 272982 h 776474"/>
                  <a:gd name="connsiteX117" fmla="*/ 198383 w 512041"/>
                  <a:gd name="connsiteY117" fmla="*/ 290699 h 776474"/>
                  <a:gd name="connsiteX118" fmla="*/ 196192 w 512041"/>
                  <a:gd name="connsiteY118" fmla="*/ 294128 h 776474"/>
                  <a:gd name="connsiteX119" fmla="*/ 182667 w 512041"/>
                  <a:gd name="connsiteY119" fmla="*/ 305367 h 776474"/>
                  <a:gd name="connsiteX120" fmla="*/ 182667 w 512041"/>
                  <a:gd name="connsiteY120" fmla="*/ 311844 h 776474"/>
                  <a:gd name="connsiteX121" fmla="*/ 192382 w 512041"/>
                  <a:gd name="connsiteY121" fmla="*/ 324131 h 776474"/>
                  <a:gd name="connsiteX122" fmla="*/ 204003 w 512041"/>
                  <a:gd name="connsiteY122" fmla="*/ 363946 h 776474"/>
                  <a:gd name="connsiteX123" fmla="*/ 215528 w 512041"/>
                  <a:gd name="connsiteY123" fmla="*/ 439384 h 776474"/>
                  <a:gd name="connsiteX124" fmla="*/ 222100 w 512041"/>
                  <a:gd name="connsiteY124" fmla="*/ 409475 h 776474"/>
                  <a:gd name="connsiteX125" fmla="*/ 221148 w 512041"/>
                  <a:gd name="connsiteY125" fmla="*/ 389282 h 776474"/>
                  <a:gd name="connsiteX126" fmla="*/ 228958 w 512041"/>
                  <a:gd name="connsiteY126" fmla="*/ 363184 h 776474"/>
                  <a:gd name="connsiteX127" fmla="*/ 239626 w 512041"/>
                  <a:gd name="connsiteY127" fmla="*/ 328037 h 776474"/>
                  <a:gd name="connsiteX128" fmla="*/ 243627 w 512041"/>
                  <a:gd name="connsiteY128" fmla="*/ 318512 h 776474"/>
                  <a:gd name="connsiteX129" fmla="*/ 252390 w 512041"/>
                  <a:gd name="connsiteY129" fmla="*/ 311177 h 776474"/>
                  <a:gd name="connsiteX130" fmla="*/ 260677 w 512041"/>
                  <a:gd name="connsiteY130" fmla="*/ 304891 h 776474"/>
                  <a:gd name="connsiteX131" fmla="*/ 265820 w 512041"/>
                  <a:gd name="connsiteY131" fmla="*/ 313368 h 776474"/>
                  <a:gd name="connsiteX132" fmla="*/ 271630 w 512041"/>
                  <a:gd name="connsiteY132" fmla="*/ 308034 h 776474"/>
                  <a:gd name="connsiteX133" fmla="*/ 273345 w 512041"/>
                  <a:gd name="connsiteY133" fmla="*/ 306891 h 776474"/>
                  <a:gd name="connsiteX134" fmla="*/ 279155 w 512041"/>
                  <a:gd name="connsiteY134" fmla="*/ 304986 h 776474"/>
                  <a:gd name="connsiteX135" fmla="*/ 292490 w 512041"/>
                  <a:gd name="connsiteY135" fmla="*/ 300605 h 776474"/>
                  <a:gd name="connsiteX136" fmla="*/ 292490 w 512041"/>
                  <a:gd name="connsiteY136" fmla="*/ 300509 h 776474"/>
                  <a:gd name="connsiteX137" fmla="*/ 306587 w 512041"/>
                  <a:gd name="connsiteY137" fmla="*/ 296795 h 776474"/>
                  <a:gd name="connsiteX138" fmla="*/ 290109 w 512041"/>
                  <a:gd name="connsiteY138" fmla="*/ 283650 h 776474"/>
                  <a:gd name="connsiteX139" fmla="*/ 271249 w 512041"/>
                  <a:gd name="connsiteY139" fmla="*/ 268220 h 776474"/>
                  <a:gd name="connsiteX140" fmla="*/ 264391 w 512041"/>
                  <a:gd name="connsiteY140" fmla="*/ 262505 h 776474"/>
                  <a:gd name="connsiteX141" fmla="*/ 256485 w 512041"/>
                  <a:gd name="connsiteY141" fmla="*/ 256504 h 776474"/>
                  <a:gd name="connsiteX142" fmla="*/ 241817 w 512041"/>
                  <a:gd name="connsiteY142" fmla="*/ 238216 h 776474"/>
                  <a:gd name="connsiteX143" fmla="*/ 239341 w 512041"/>
                  <a:gd name="connsiteY143" fmla="*/ 228881 h 776474"/>
                  <a:gd name="connsiteX144" fmla="*/ 237912 w 512041"/>
                  <a:gd name="connsiteY144" fmla="*/ 226595 h 776474"/>
                  <a:gd name="connsiteX145" fmla="*/ 230673 w 512041"/>
                  <a:gd name="connsiteY145" fmla="*/ 218273 h 776474"/>
                  <a:gd name="connsiteX146" fmla="*/ 227460 w 512041"/>
                  <a:gd name="connsiteY146" fmla="*/ 207822 h 776474"/>
                  <a:gd name="connsiteX147" fmla="*/ 227435 w 512041"/>
                  <a:gd name="connsiteY147" fmla="*/ 207831 h 776474"/>
                  <a:gd name="connsiteX148" fmla="*/ 227435 w 512041"/>
                  <a:gd name="connsiteY148" fmla="*/ 207739 h 776474"/>
                  <a:gd name="connsiteX149" fmla="*/ 227434 w 512041"/>
                  <a:gd name="connsiteY149" fmla="*/ 207736 h 776474"/>
                  <a:gd name="connsiteX150" fmla="*/ 225625 w 512041"/>
                  <a:gd name="connsiteY150" fmla="*/ 207736 h 776474"/>
                  <a:gd name="connsiteX151" fmla="*/ 227149 w 512041"/>
                  <a:gd name="connsiteY151" fmla="*/ 202402 h 776474"/>
                  <a:gd name="connsiteX152" fmla="*/ 230893 w 512041"/>
                  <a:gd name="connsiteY152" fmla="*/ 206520 h 776474"/>
                  <a:gd name="connsiteX153" fmla="*/ 230958 w 512041"/>
                  <a:gd name="connsiteY153" fmla="*/ 206498 h 776474"/>
                  <a:gd name="connsiteX154" fmla="*/ 227148 w 512041"/>
                  <a:gd name="connsiteY154" fmla="*/ 202307 h 776474"/>
                  <a:gd name="connsiteX155" fmla="*/ 369030 w 512041"/>
                  <a:gd name="connsiteY155" fmla="*/ 114657 h 776474"/>
                  <a:gd name="connsiteX156" fmla="*/ 369595 w 512041"/>
                  <a:gd name="connsiteY156" fmla="*/ 117844 h 776474"/>
                  <a:gd name="connsiteX157" fmla="*/ 372426 w 512041"/>
                  <a:gd name="connsiteY157" fmla="*/ 120014 h 776474"/>
                  <a:gd name="connsiteX158" fmla="*/ 370977 w 512041"/>
                  <a:gd name="connsiteY158" fmla="*/ 112010 h 776474"/>
                  <a:gd name="connsiteX159" fmla="*/ 370662 w 512041"/>
                  <a:gd name="connsiteY159" fmla="*/ 112270 h 776474"/>
                  <a:gd name="connsiteX160" fmla="*/ 372693 w 512041"/>
                  <a:gd name="connsiteY160" fmla="*/ 120219 h 776474"/>
                  <a:gd name="connsiteX161" fmla="*/ 373167 w 512041"/>
                  <a:gd name="connsiteY161" fmla="*/ 120582 h 776474"/>
                  <a:gd name="connsiteX162" fmla="*/ 370977 w 512041"/>
                  <a:gd name="connsiteY162" fmla="*/ 112010 h 776474"/>
                  <a:gd name="connsiteX163" fmla="*/ 442402 w 512041"/>
                  <a:gd name="connsiteY163" fmla="*/ 19082 h 776474"/>
                  <a:gd name="connsiteX164" fmla="*/ 449844 w 512041"/>
                  <a:gd name="connsiteY164" fmla="*/ 19427 h 776474"/>
                  <a:gd name="connsiteX165" fmla="*/ 450606 w 512041"/>
                  <a:gd name="connsiteY165" fmla="*/ 27333 h 776474"/>
                  <a:gd name="connsiteX166" fmla="*/ 444129 w 512041"/>
                  <a:gd name="connsiteY166" fmla="*/ 67052 h 776474"/>
                  <a:gd name="connsiteX167" fmla="*/ 434889 w 512041"/>
                  <a:gd name="connsiteY167" fmla="*/ 85530 h 776474"/>
                  <a:gd name="connsiteX168" fmla="*/ 417649 w 512041"/>
                  <a:gd name="connsiteY168" fmla="*/ 108200 h 776474"/>
                  <a:gd name="connsiteX169" fmla="*/ 403552 w 512041"/>
                  <a:gd name="connsiteY169" fmla="*/ 116963 h 776474"/>
                  <a:gd name="connsiteX170" fmla="*/ 390408 w 512041"/>
                  <a:gd name="connsiteY170" fmla="*/ 127440 h 776474"/>
                  <a:gd name="connsiteX171" fmla="*/ 369262 w 512041"/>
                  <a:gd name="connsiteY171" fmla="*/ 132298 h 776474"/>
                  <a:gd name="connsiteX172" fmla="*/ 369548 w 512041"/>
                  <a:gd name="connsiteY172" fmla="*/ 132298 h 776474"/>
                  <a:gd name="connsiteX173" fmla="*/ 361547 w 512041"/>
                  <a:gd name="connsiteY173" fmla="*/ 129536 h 776474"/>
                  <a:gd name="connsiteX174" fmla="*/ 366690 w 512041"/>
                  <a:gd name="connsiteY174" fmla="*/ 107914 h 776474"/>
                  <a:gd name="connsiteX175" fmla="*/ 376406 w 512041"/>
                  <a:gd name="connsiteY175" fmla="*/ 96484 h 776474"/>
                  <a:gd name="connsiteX176" fmla="*/ 376787 w 512041"/>
                  <a:gd name="connsiteY176" fmla="*/ 93531 h 776474"/>
                  <a:gd name="connsiteX177" fmla="*/ 376787 w 512041"/>
                  <a:gd name="connsiteY177" fmla="*/ 84578 h 776474"/>
                  <a:gd name="connsiteX178" fmla="*/ 397075 w 512041"/>
                  <a:gd name="connsiteY178" fmla="*/ 53717 h 776474"/>
                  <a:gd name="connsiteX179" fmla="*/ 405362 w 512041"/>
                  <a:gd name="connsiteY179" fmla="*/ 50193 h 776474"/>
                  <a:gd name="connsiteX180" fmla="*/ 410220 w 512041"/>
                  <a:gd name="connsiteY180" fmla="*/ 45621 h 776474"/>
                  <a:gd name="connsiteX181" fmla="*/ 417363 w 512041"/>
                  <a:gd name="connsiteY181" fmla="*/ 41144 h 776474"/>
                  <a:gd name="connsiteX182" fmla="*/ 419268 w 512041"/>
                  <a:gd name="connsiteY182" fmla="*/ 39239 h 776474"/>
                  <a:gd name="connsiteX183" fmla="*/ 435747 w 512041"/>
                  <a:gd name="connsiteY183" fmla="*/ 20094 h 776474"/>
                  <a:gd name="connsiteX184" fmla="*/ 442402 w 512041"/>
                  <a:gd name="connsiteY184" fmla="*/ 19082 h 776474"/>
                  <a:gd name="connsiteX185" fmla="*/ 78559 w 512041"/>
                  <a:gd name="connsiteY185" fmla="*/ 12568 h 776474"/>
                  <a:gd name="connsiteX186" fmla="*/ 84560 w 512041"/>
                  <a:gd name="connsiteY186" fmla="*/ 22569 h 776474"/>
                  <a:gd name="connsiteX187" fmla="*/ 86465 w 512041"/>
                  <a:gd name="connsiteY187" fmla="*/ 26284 h 776474"/>
                  <a:gd name="connsiteX188" fmla="*/ 86465 w 512041"/>
                  <a:gd name="connsiteY188" fmla="*/ 26570 h 776474"/>
                  <a:gd name="connsiteX189" fmla="*/ 86560 w 512041"/>
                  <a:gd name="connsiteY189" fmla="*/ 26570 h 776474"/>
                  <a:gd name="connsiteX190" fmla="*/ 87036 w 512041"/>
                  <a:gd name="connsiteY190" fmla="*/ 36762 h 776474"/>
                  <a:gd name="connsiteX191" fmla="*/ 87036 w 512041"/>
                  <a:gd name="connsiteY191" fmla="*/ 32672 h 776474"/>
                  <a:gd name="connsiteX192" fmla="*/ 86751 w 512041"/>
                  <a:gd name="connsiteY192" fmla="*/ 26571 h 776474"/>
                  <a:gd name="connsiteX193" fmla="*/ 86751 w 512041"/>
                  <a:gd name="connsiteY193" fmla="*/ 26570 h 776474"/>
                  <a:gd name="connsiteX194" fmla="*/ 86756 w 512041"/>
                  <a:gd name="connsiteY194" fmla="*/ 26577 h 776474"/>
                  <a:gd name="connsiteX195" fmla="*/ 86878 w 512041"/>
                  <a:gd name="connsiteY195" fmla="*/ 26730 h 776474"/>
                  <a:gd name="connsiteX196" fmla="*/ 86774 w 512041"/>
                  <a:gd name="connsiteY196" fmla="*/ 26522 h 776474"/>
                  <a:gd name="connsiteX197" fmla="*/ 86750 w 512041"/>
                  <a:gd name="connsiteY197" fmla="*/ 26570 h 776474"/>
                  <a:gd name="connsiteX198" fmla="*/ 86750 w 512041"/>
                  <a:gd name="connsiteY198" fmla="*/ 26474 h 776474"/>
                  <a:gd name="connsiteX199" fmla="*/ 86655 w 512041"/>
                  <a:gd name="connsiteY199" fmla="*/ 26284 h 776474"/>
                  <a:gd name="connsiteX200" fmla="*/ 86560 w 512041"/>
                  <a:gd name="connsiteY200" fmla="*/ 26284 h 776474"/>
                  <a:gd name="connsiteX201" fmla="*/ 87132 w 512041"/>
                  <a:gd name="connsiteY201" fmla="*/ 21807 h 776474"/>
                  <a:gd name="connsiteX202" fmla="*/ 89989 w 512041"/>
                  <a:gd name="connsiteY202" fmla="*/ 23427 h 776474"/>
                  <a:gd name="connsiteX203" fmla="*/ 94180 w 512041"/>
                  <a:gd name="connsiteY203" fmla="*/ 30761 h 776474"/>
                  <a:gd name="connsiteX204" fmla="*/ 112087 w 512041"/>
                  <a:gd name="connsiteY204" fmla="*/ 53145 h 776474"/>
                  <a:gd name="connsiteX205" fmla="*/ 120564 w 512041"/>
                  <a:gd name="connsiteY205" fmla="*/ 66861 h 776474"/>
                  <a:gd name="connsiteX206" fmla="*/ 126565 w 512041"/>
                  <a:gd name="connsiteY206" fmla="*/ 72385 h 776474"/>
                  <a:gd name="connsiteX207" fmla="*/ 124851 w 512041"/>
                  <a:gd name="connsiteY207" fmla="*/ 113152 h 776474"/>
                  <a:gd name="connsiteX208" fmla="*/ 123422 w 512041"/>
                  <a:gd name="connsiteY208" fmla="*/ 119153 h 776474"/>
                  <a:gd name="connsiteX209" fmla="*/ 124374 w 512041"/>
                  <a:gd name="connsiteY209" fmla="*/ 126582 h 776474"/>
                  <a:gd name="connsiteX210" fmla="*/ 111135 w 512041"/>
                  <a:gd name="connsiteY210" fmla="*/ 126487 h 776474"/>
                  <a:gd name="connsiteX211" fmla="*/ 99895 w 512041"/>
                  <a:gd name="connsiteY211" fmla="*/ 118200 h 776474"/>
                  <a:gd name="connsiteX212" fmla="*/ 93704 w 512041"/>
                  <a:gd name="connsiteY212" fmla="*/ 110676 h 776474"/>
                  <a:gd name="connsiteX213" fmla="*/ 93609 w 512041"/>
                  <a:gd name="connsiteY213" fmla="*/ 110676 h 776474"/>
                  <a:gd name="connsiteX214" fmla="*/ 74273 w 512041"/>
                  <a:gd name="connsiteY214" fmla="*/ 88387 h 776474"/>
                  <a:gd name="connsiteX215" fmla="*/ 59985 w 512041"/>
                  <a:gd name="connsiteY215" fmla="*/ 50478 h 776474"/>
                  <a:gd name="connsiteX216" fmla="*/ 68844 w 512041"/>
                  <a:gd name="connsiteY216" fmla="*/ 19236 h 776474"/>
                  <a:gd name="connsiteX217" fmla="*/ 78559 w 512041"/>
                  <a:gd name="connsiteY217" fmla="*/ 12568 h 776474"/>
                  <a:gd name="connsiteX218" fmla="*/ 236197 w 512041"/>
                  <a:gd name="connsiteY218" fmla="*/ 1043 h 776474"/>
                  <a:gd name="connsiteX219" fmla="*/ 251914 w 512041"/>
                  <a:gd name="connsiteY219" fmla="*/ 25999 h 776474"/>
                  <a:gd name="connsiteX220" fmla="*/ 248199 w 512041"/>
                  <a:gd name="connsiteY220" fmla="*/ 28761 h 776474"/>
                  <a:gd name="connsiteX221" fmla="*/ 249627 w 512041"/>
                  <a:gd name="connsiteY221" fmla="*/ 39239 h 776474"/>
                  <a:gd name="connsiteX222" fmla="*/ 252295 w 512041"/>
                  <a:gd name="connsiteY222" fmla="*/ 42287 h 776474"/>
                  <a:gd name="connsiteX223" fmla="*/ 247151 w 512041"/>
                  <a:gd name="connsiteY223" fmla="*/ 45335 h 776474"/>
                  <a:gd name="connsiteX224" fmla="*/ 250675 w 512041"/>
                  <a:gd name="connsiteY224" fmla="*/ 57050 h 776474"/>
                  <a:gd name="connsiteX225" fmla="*/ 255057 w 512041"/>
                  <a:gd name="connsiteY225" fmla="*/ 82387 h 776474"/>
                  <a:gd name="connsiteX226" fmla="*/ 256771 w 512041"/>
                  <a:gd name="connsiteY226" fmla="*/ 93055 h 776474"/>
                  <a:gd name="connsiteX227" fmla="*/ 267249 w 512041"/>
                  <a:gd name="connsiteY227" fmla="*/ 131345 h 776474"/>
                  <a:gd name="connsiteX228" fmla="*/ 269630 w 512041"/>
                  <a:gd name="connsiteY228" fmla="*/ 135441 h 776474"/>
                  <a:gd name="connsiteX229" fmla="*/ 281250 w 512041"/>
                  <a:gd name="connsiteY229" fmla="*/ 156206 h 776474"/>
                  <a:gd name="connsiteX230" fmla="*/ 297824 w 512041"/>
                  <a:gd name="connsiteY230" fmla="*/ 177446 h 776474"/>
                  <a:gd name="connsiteX231" fmla="*/ 316493 w 512041"/>
                  <a:gd name="connsiteY231" fmla="*/ 192877 h 776474"/>
                  <a:gd name="connsiteX232" fmla="*/ 336019 w 512041"/>
                  <a:gd name="connsiteY232" fmla="*/ 206307 h 776474"/>
                  <a:gd name="connsiteX233" fmla="*/ 343639 w 512041"/>
                  <a:gd name="connsiteY233" fmla="*/ 213546 h 776474"/>
                  <a:gd name="connsiteX234" fmla="*/ 345925 w 512041"/>
                  <a:gd name="connsiteY234" fmla="*/ 214880 h 776474"/>
                  <a:gd name="connsiteX235" fmla="*/ 366214 w 512041"/>
                  <a:gd name="connsiteY235" fmla="*/ 220785 h 776474"/>
                  <a:gd name="connsiteX236" fmla="*/ 373738 w 512041"/>
                  <a:gd name="connsiteY236" fmla="*/ 223071 h 776474"/>
                  <a:gd name="connsiteX237" fmla="*/ 384978 w 512041"/>
                  <a:gd name="connsiteY237" fmla="*/ 231072 h 776474"/>
                  <a:gd name="connsiteX238" fmla="*/ 399170 w 512041"/>
                  <a:gd name="connsiteY238" fmla="*/ 235168 h 776474"/>
                  <a:gd name="connsiteX239" fmla="*/ 412696 w 512041"/>
                  <a:gd name="connsiteY239" fmla="*/ 238787 h 776474"/>
                  <a:gd name="connsiteX240" fmla="*/ 425364 w 512041"/>
                  <a:gd name="connsiteY240" fmla="*/ 239073 h 776474"/>
                  <a:gd name="connsiteX241" fmla="*/ 443175 w 512041"/>
                  <a:gd name="connsiteY241" fmla="*/ 243550 h 776474"/>
                  <a:gd name="connsiteX242" fmla="*/ 466131 w 512041"/>
                  <a:gd name="connsiteY242" fmla="*/ 246693 h 776474"/>
                  <a:gd name="connsiteX243" fmla="*/ 484419 w 512041"/>
                  <a:gd name="connsiteY243" fmla="*/ 247741 h 776474"/>
                  <a:gd name="connsiteX244" fmla="*/ 503278 w 512041"/>
                  <a:gd name="connsiteY244" fmla="*/ 268029 h 776474"/>
                  <a:gd name="connsiteX245" fmla="*/ 505755 w 512041"/>
                  <a:gd name="connsiteY245" fmla="*/ 284603 h 776474"/>
                  <a:gd name="connsiteX246" fmla="*/ 512041 w 512041"/>
                  <a:gd name="connsiteY246" fmla="*/ 288698 h 776474"/>
                  <a:gd name="connsiteX247" fmla="*/ 511851 w 512041"/>
                  <a:gd name="connsiteY247" fmla="*/ 288794 h 776474"/>
                  <a:gd name="connsiteX248" fmla="*/ 511851 w 512041"/>
                  <a:gd name="connsiteY248" fmla="*/ 290699 h 776474"/>
                  <a:gd name="connsiteX249" fmla="*/ 509470 w 512041"/>
                  <a:gd name="connsiteY249" fmla="*/ 311082 h 776474"/>
                  <a:gd name="connsiteX250" fmla="*/ 510898 w 512041"/>
                  <a:gd name="connsiteY250" fmla="*/ 315464 h 776474"/>
                  <a:gd name="connsiteX251" fmla="*/ 505183 w 512041"/>
                  <a:gd name="connsiteY251" fmla="*/ 328322 h 776474"/>
                  <a:gd name="connsiteX252" fmla="*/ 505945 w 512041"/>
                  <a:gd name="connsiteY252" fmla="*/ 343277 h 776474"/>
                  <a:gd name="connsiteX253" fmla="*/ 474798 w 512041"/>
                  <a:gd name="connsiteY253" fmla="*/ 366041 h 776474"/>
                  <a:gd name="connsiteX254" fmla="*/ 440699 w 512041"/>
                  <a:gd name="connsiteY254" fmla="*/ 367946 h 776474"/>
                  <a:gd name="connsiteX255" fmla="*/ 423078 w 512041"/>
                  <a:gd name="connsiteY255" fmla="*/ 374138 h 776474"/>
                  <a:gd name="connsiteX256" fmla="*/ 412124 w 512041"/>
                  <a:gd name="connsiteY256" fmla="*/ 374138 h 776474"/>
                  <a:gd name="connsiteX257" fmla="*/ 404885 w 512041"/>
                  <a:gd name="connsiteY257" fmla="*/ 374995 h 776474"/>
                  <a:gd name="connsiteX258" fmla="*/ 365928 w 512041"/>
                  <a:gd name="connsiteY258" fmla="*/ 388901 h 776474"/>
                  <a:gd name="connsiteX259" fmla="*/ 330114 w 512041"/>
                  <a:gd name="connsiteY259" fmla="*/ 395664 h 776474"/>
                  <a:gd name="connsiteX260" fmla="*/ 326304 w 512041"/>
                  <a:gd name="connsiteY260" fmla="*/ 396045 h 776474"/>
                  <a:gd name="connsiteX261" fmla="*/ 300015 w 512041"/>
                  <a:gd name="connsiteY261" fmla="*/ 401189 h 776474"/>
                  <a:gd name="connsiteX262" fmla="*/ 289442 w 512041"/>
                  <a:gd name="connsiteY262" fmla="*/ 401284 h 776474"/>
                  <a:gd name="connsiteX263" fmla="*/ 265534 w 512041"/>
                  <a:gd name="connsiteY263" fmla="*/ 417667 h 776474"/>
                  <a:gd name="connsiteX264" fmla="*/ 262200 w 512041"/>
                  <a:gd name="connsiteY264" fmla="*/ 460625 h 776474"/>
                  <a:gd name="connsiteX265" fmla="*/ 262772 w 512041"/>
                  <a:gd name="connsiteY265" fmla="*/ 481484 h 776474"/>
                  <a:gd name="connsiteX266" fmla="*/ 260105 w 512041"/>
                  <a:gd name="connsiteY266" fmla="*/ 544445 h 776474"/>
                  <a:gd name="connsiteX267" fmla="*/ 253152 w 512041"/>
                  <a:gd name="connsiteY267" fmla="*/ 577115 h 776474"/>
                  <a:gd name="connsiteX268" fmla="*/ 249627 w 512041"/>
                  <a:gd name="connsiteY268" fmla="*/ 620073 h 776474"/>
                  <a:gd name="connsiteX269" fmla="*/ 246008 w 512041"/>
                  <a:gd name="connsiteY269" fmla="*/ 648553 h 776474"/>
                  <a:gd name="connsiteX270" fmla="*/ 244865 w 512041"/>
                  <a:gd name="connsiteY270" fmla="*/ 674842 h 776474"/>
                  <a:gd name="connsiteX271" fmla="*/ 245056 w 512041"/>
                  <a:gd name="connsiteY271" fmla="*/ 714561 h 776474"/>
                  <a:gd name="connsiteX272" fmla="*/ 242674 w 512041"/>
                  <a:gd name="connsiteY272" fmla="*/ 765425 h 776474"/>
                  <a:gd name="connsiteX273" fmla="*/ 234673 w 512041"/>
                  <a:gd name="connsiteY273" fmla="*/ 776474 h 776474"/>
                  <a:gd name="connsiteX274" fmla="*/ 223339 w 512041"/>
                  <a:gd name="connsiteY274" fmla="*/ 776474 h 776474"/>
                  <a:gd name="connsiteX275" fmla="*/ 223148 w 512041"/>
                  <a:gd name="connsiteY275" fmla="*/ 776474 h 776474"/>
                  <a:gd name="connsiteX276" fmla="*/ 213719 w 512041"/>
                  <a:gd name="connsiteY276" fmla="*/ 776474 h 776474"/>
                  <a:gd name="connsiteX277" fmla="*/ 213528 w 512041"/>
                  <a:gd name="connsiteY277" fmla="*/ 776474 h 776474"/>
                  <a:gd name="connsiteX278" fmla="*/ 207718 w 512041"/>
                  <a:gd name="connsiteY278" fmla="*/ 776474 h 776474"/>
                  <a:gd name="connsiteX279" fmla="*/ 196383 w 512041"/>
                  <a:gd name="connsiteY279" fmla="*/ 757614 h 776474"/>
                  <a:gd name="connsiteX280" fmla="*/ 193144 w 512041"/>
                  <a:gd name="connsiteY280" fmla="*/ 750375 h 776474"/>
                  <a:gd name="connsiteX281" fmla="*/ 187620 w 512041"/>
                  <a:gd name="connsiteY281" fmla="*/ 723419 h 776474"/>
                  <a:gd name="connsiteX282" fmla="*/ 185620 w 512041"/>
                  <a:gd name="connsiteY282" fmla="*/ 719038 h 776474"/>
                  <a:gd name="connsiteX283" fmla="*/ 178857 w 512041"/>
                  <a:gd name="connsiteY283" fmla="*/ 663602 h 776474"/>
                  <a:gd name="connsiteX284" fmla="*/ 181238 w 512041"/>
                  <a:gd name="connsiteY284" fmla="*/ 654744 h 776474"/>
                  <a:gd name="connsiteX285" fmla="*/ 180667 w 512041"/>
                  <a:gd name="connsiteY285" fmla="*/ 574639 h 776474"/>
                  <a:gd name="connsiteX286" fmla="*/ 184286 w 512041"/>
                  <a:gd name="connsiteY286" fmla="*/ 558065 h 776474"/>
                  <a:gd name="connsiteX287" fmla="*/ 180762 w 512041"/>
                  <a:gd name="connsiteY287" fmla="*/ 537110 h 776474"/>
                  <a:gd name="connsiteX288" fmla="*/ 179428 w 512041"/>
                  <a:gd name="connsiteY288" fmla="*/ 508821 h 776474"/>
                  <a:gd name="connsiteX289" fmla="*/ 178095 w 512041"/>
                  <a:gd name="connsiteY289" fmla="*/ 487580 h 776474"/>
                  <a:gd name="connsiteX290" fmla="*/ 174380 w 512041"/>
                  <a:gd name="connsiteY290" fmla="*/ 458624 h 776474"/>
                  <a:gd name="connsiteX291" fmla="*/ 170856 w 512041"/>
                  <a:gd name="connsiteY291" fmla="*/ 419858 h 776474"/>
                  <a:gd name="connsiteX292" fmla="*/ 164760 w 512041"/>
                  <a:gd name="connsiteY292" fmla="*/ 397950 h 776474"/>
                  <a:gd name="connsiteX293" fmla="*/ 151901 w 512041"/>
                  <a:gd name="connsiteY293" fmla="*/ 379853 h 776474"/>
                  <a:gd name="connsiteX294" fmla="*/ 144091 w 512041"/>
                  <a:gd name="connsiteY294" fmla="*/ 371661 h 776474"/>
                  <a:gd name="connsiteX295" fmla="*/ 110848 w 512041"/>
                  <a:gd name="connsiteY295" fmla="*/ 364327 h 776474"/>
                  <a:gd name="connsiteX296" fmla="*/ 86941 w 512041"/>
                  <a:gd name="connsiteY296" fmla="*/ 364041 h 776474"/>
                  <a:gd name="connsiteX297" fmla="*/ 74272 w 512041"/>
                  <a:gd name="connsiteY297" fmla="*/ 361565 h 776474"/>
                  <a:gd name="connsiteX298" fmla="*/ 59032 w 512041"/>
                  <a:gd name="connsiteY298" fmla="*/ 360803 h 776474"/>
                  <a:gd name="connsiteX299" fmla="*/ 41792 w 512041"/>
                  <a:gd name="connsiteY299" fmla="*/ 361184 h 776474"/>
                  <a:gd name="connsiteX300" fmla="*/ 38649 w 512041"/>
                  <a:gd name="connsiteY300" fmla="*/ 361374 h 776474"/>
                  <a:gd name="connsiteX301" fmla="*/ 32362 w 512041"/>
                  <a:gd name="connsiteY301" fmla="*/ 361946 h 776474"/>
                  <a:gd name="connsiteX302" fmla="*/ 19408 w 512041"/>
                  <a:gd name="connsiteY302" fmla="*/ 361374 h 776474"/>
                  <a:gd name="connsiteX303" fmla="*/ 930 w 512041"/>
                  <a:gd name="connsiteY303" fmla="*/ 347563 h 776474"/>
                  <a:gd name="connsiteX304" fmla="*/ 1501 w 512041"/>
                  <a:gd name="connsiteY304" fmla="*/ 329465 h 776474"/>
                  <a:gd name="connsiteX305" fmla="*/ 7216 w 512041"/>
                  <a:gd name="connsiteY305" fmla="*/ 322417 h 776474"/>
                  <a:gd name="connsiteX306" fmla="*/ 8740 w 512041"/>
                  <a:gd name="connsiteY306" fmla="*/ 320417 h 776474"/>
                  <a:gd name="connsiteX307" fmla="*/ 14836 w 512041"/>
                  <a:gd name="connsiteY307" fmla="*/ 311844 h 776474"/>
                  <a:gd name="connsiteX308" fmla="*/ 7216 w 512041"/>
                  <a:gd name="connsiteY308" fmla="*/ 296509 h 776474"/>
                  <a:gd name="connsiteX309" fmla="*/ 15408 w 512041"/>
                  <a:gd name="connsiteY309" fmla="*/ 280126 h 776474"/>
                  <a:gd name="connsiteX310" fmla="*/ 30743 w 512041"/>
                  <a:gd name="connsiteY310" fmla="*/ 274316 h 776474"/>
                  <a:gd name="connsiteX311" fmla="*/ 48460 w 512041"/>
                  <a:gd name="connsiteY311" fmla="*/ 269839 h 776474"/>
                  <a:gd name="connsiteX312" fmla="*/ 58556 w 512041"/>
                  <a:gd name="connsiteY312" fmla="*/ 274887 h 776474"/>
                  <a:gd name="connsiteX313" fmla="*/ 60937 w 512041"/>
                  <a:gd name="connsiteY313" fmla="*/ 274030 h 776474"/>
                  <a:gd name="connsiteX314" fmla="*/ 70558 w 512041"/>
                  <a:gd name="connsiteY314" fmla="*/ 268410 h 776474"/>
                  <a:gd name="connsiteX315" fmla="*/ 78749 w 512041"/>
                  <a:gd name="connsiteY315" fmla="*/ 265362 h 776474"/>
                  <a:gd name="connsiteX316" fmla="*/ 106086 w 512041"/>
                  <a:gd name="connsiteY316" fmla="*/ 257361 h 776474"/>
                  <a:gd name="connsiteX317" fmla="*/ 124564 w 512041"/>
                  <a:gd name="connsiteY317" fmla="*/ 253075 h 776474"/>
                  <a:gd name="connsiteX318" fmla="*/ 137233 w 512041"/>
                  <a:gd name="connsiteY318" fmla="*/ 243836 h 776474"/>
                  <a:gd name="connsiteX319" fmla="*/ 169332 w 512041"/>
                  <a:gd name="connsiteY319" fmla="*/ 232310 h 776474"/>
                  <a:gd name="connsiteX320" fmla="*/ 173999 w 512041"/>
                  <a:gd name="connsiteY320" fmla="*/ 226976 h 776474"/>
                  <a:gd name="connsiteX321" fmla="*/ 183905 w 512041"/>
                  <a:gd name="connsiteY321" fmla="*/ 222595 h 776474"/>
                  <a:gd name="connsiteX322" fmla="*/ 186191 w 512041"/>
                  <a:gd name="connsiteY322" fmla="*/ 221833 h 776474"/>
                  <a:gd name="connsiteX323" fmla="*/ 204955 w 512041"/>
                  <a:gd name="connsiteY323" fmla="*/ 177351 h 776474"/>
                  <a:gd name="connsiteX324" fmla="*/ 208003 w 512041"/>
                  <a:gd name="connsiteY324" fmla="*/ 105056 h 776474"/>
                  <a:gd name="connsiteX325" fmla="*/ 203241 w 512041"/>
                  <a:gd name="connsiteY325" fmla="*/ 70766 h 776474"/>
                  <a:gd name="connsiteX326" fmla="*/ 207813 w 512041"/>
                  <a:gd name="connsiteY326" fmla="*/ 52669 h 776474"/>
                  <a:gd name="connsiteX327" fmla="*/ 210194 w 512041"/>
                  <a:gd name="connsiteY327" fmla="*/ 39905 h 776474"/>
                  <a:gd name="connsiteX328" fmla="*/ 227720 w 512041"/>
                  <a:gd name="connsiteY328" fmla="*/ 2567 h 776474"/>
                  <a:gd name="connsiteX329" fmla="*/ 236197 w 512041"/>
                  <a:gd name="connsiteY329" fmla="*/ 1043 h 776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</a:cxnLst>
                <a:rect l="l" t="t" r="r" b="b"/>
                <a:pathLst>
                  <a:path w="512041" h="776474">
                    <a:moveTo>
                      <a:pt x="468035" y="583116"/>
                    </a:moveTo>
                    <a:lnTo>
                      <a:pt x="467945" y="583143"/>
                    </a:lnTo>
                    <a:lnTo>
                      <a:pt x="468894" y="588831"/>
                    </a:lnTo>
                    <a:lnTo>
                      <a:pt x="467101" y="585493"/>
                    </a:lnTo>
                    <a:lnTo>
                      <a:pt x="468893" y="588831"/>
                    </a:lnTo>
                    <a:lnTo>
                      <a:pt x="468894" y="588831"/>
                    </a:lnTo>
                    <a:lnTo>
                      <a:pt x="468988" y="588831"/>
                    </a:lnTo>
                    <a:cubicBezTo>
                      <a:pt x="470322" y="586640"/>
                      <a:pt x="470036" y="584735"/>
                      <a:pt x="468035" y="583116"/>
                    </a:cubicBezTo>
                    <a:close/>
                    <a:moveTo>
                      <a:pt x="457368" y="573019"/>
                    </a:moveTo>
                    <a:cubicBezTo>
                      <a:pt x="455748" y="576924"/>
                      <a:pt x="450224" y="571019"/>
                      <a:pt x="449843" y="576162"/>
                    </a:cubicBezTo>
                    <a:lnTo>
                      <a:pt x="449844" y="576163"/>
                    </a:lnTo>
                    <a:lnTo>
                      <a:pt x="453142" y="574128"/>
                    </a:lnTo>
                    <a:lnTo>
                      <a:pt x="457368" y="573020"/>
                    </a:lnTo>
                    <a:close/>
                    <a:moveTo>
                      <a:pt x="251628" y="544349"/>
                    </a:moveTo>
                    <a:cubicBezTo>
                      <a:pt x="249056" y="546350"/>
                      <a:pt x="250580" y="549207"/>
                      <a:pt x="250675" y="552255"/>
                    </a:cubicBezTo>
                    <a:lnTo>
                      <a:pt x="250676" y="552253"/>
                    </a:lnTo>
                    <a:close/>
                    <a:moveTo>
                      <a:pt x="50174" y="541301"/>
                    </a:moveTo>
                    <a:cubicBezTo>
                      <a:pt x="57032" y="541968"/>
                      <a:pt x="49983" y="545397"/>
                      <a:pt x="51222" y="547111"/>
                    </a:cubicBezTo>
                    <a:cubicBezTo>
                      <a:pt x="49317" y="545397"/>
                      <a:pt x="50460" y="543206"/>
                      <a:pt x="50174" y="541301"/>
                    </a:cubicBezTo>
                    <a:close/>
                    <a:moveTo>
                      <a:pt x="447843" y="531204"/>
                    </a:moveTo>
                    <a:cubicBezTo>
                      <a:pt x="446509" y="534062"/>
                      <a:pt x="446033" y="536157"/>
                      <a:pt x="447843" y="538443"/>
                    </a:cubicBezTo>
                    <a:lnTo>
                      <a:pt x="447938" y="538090"/>
                    </a:lnTo>
                    <a:lnTo>
                      <a:pt x="447938" y="531653"/>
                    </a:lnTo>
                    <a:close/>
                    <a:moveTo>
                      <a:pt x="373738" y="497391"/>
                    </a:moveTo>
                    <a:cubicBezTo>
                      <a:pt x="372119" y="497010"/>
                      <a:pt x="371547" y="498248"/>
                      <a:pt x="371547" y="499581"/>
                    </a:cubicBezTo>
                    <a:cubicBezTo>
                      <a:pt x="371547" y="500343"/>
                      <a:pt x="372024" y="501201"/>
                      <a:pt x="372404" y="502534"/>
                    </a:cubicBezTo>
                    <a:lnTo>
                      <a:pt x="372404" y="502629"/>
                    </a:lnTo>
                    <a:cubicBezTo>
                      <a:pt x="373548" y="501296"/>
                      <a:pt x="374500" y="500439"/>
                      <a:pt x="374976" y="499391"/>
                    </a:cubicBezTo>
                    <a:lnTo>
                      <a:pt x="374952" y="499351"/>
                    </a:lnTo>
                    <a:lnTo>
                      <a:pt x="372500" y="502439"/>
                    </a:lnTo>
                    <a:cubicBezTo>
                      <a:pt x="372024" y="501105"/>
                      <a:pt x="371643" y="500343"/>
                      <a:pt x="371643" y="499486"/>
                    </a:cubicBezTo>
                    <a:lnTo>
                      <a:pt x="373738" y="497391"/>
                    </a:lnTo>
                    <a:close/>
                    <a:moveTo>
                      <a:pt x="359260" y="480341"/>
                    </a:moveTo>
                    <a:cubicBezTo>
                      <a:pt x="358879" y="480150"/>
                      <a:pt x="357164" y="481103"/>
                      <a:pt x="357164" y="481674"/>
                    </a:cubicBezTo>
                    <a:cubicBezTo>
                      <a:pt x="356783" y="484532"/>
                      <a:pt x="359070" y="485389"/>
                      <a:pt x="361070" y="486532"/>
                    </a:cubicBezTo>
                    <a:lnTo>
                      <a:pt x="361165" y="486532"/>
                    </a:lnTo>
                    <a:cubicBezTo>
                      <a:pt x="359165" y="485485"/>
                      <a:pt x="356879" y="484532"/>
                      <a:pt x="357260" y="481675"/>
                    </a:cubicBezTo>
                    <a:lnTo>
                      <a:pt x="359276" y="480391"/>
                    </a:lnTo>
                    <a:close/>
                    <a:moveTo>
                      <a:pt x="351354" y="471959"/>
                    </a:moveTo>
                    <a:cubicBezTo>
                      <a:pt x="350116" y="472054"/>
                      <a:pt x="348592" y="471864"/>
                      <a:pt x="348592" y="473769"/>
                    </a:cubicBezTo>
                    <a:cubicBezTo>
                      <a:pt x="348687" y="475483"/>
                      <a:pt x="349830" y="476817"/>
                      <a:pt x="351450" y="476817"/>
                    </a:cubicBezTo>
                    <a:lnTo>
                      <a:pt x="351578" y="476750"/>
                    </a:lnTo>
                    <a:lnTo>
                      <a:pt x="348783" y="473769"/>
                    </a:lnTo>
                    <a:lnTo>
                      <a:pt x="351413" y="472045"/>
                    </a:lnTo>
                    <a:close/>
                    <a:moveTo>
                      <a:pt x="76273" y="434145"/>
                    </a:moveTo>
                    <a:cubicBezTo>
                      <a:pt x="79225" y="438431"/>
                      <a:pt x="88655" y="436907"/>
                      <a:pt x="87131" y="444242"/>
                    </a:cubicBezTo>
                    <a:lnTo>
                      <a:pt x="87417" y="444242"/>
                    </a:lnTo>
                    <a:cubicBezTo>
                      <a:pt x="85988" y="451290"/>
                      <a:pt x="94656" y="456910"/>
                      <a:pt x="87703" y="465482"/>
                    </a:cubicBezTo>
                    <a:cubicBezTo>
                      <a:pt x="83035" y="471102"/>
                      <a:pt x="82940" y="481198"/>
                      <a:pt x="80559" y="489199"/>
                    </a:cubicBezTo>
                    <a:cubicBezTo>
                      <a:pt x="79511" y="492438"/>
                      <a:pt x="83988" y="497677"/>
                      <a:pt x="76273" y="497772"/>
                    </a:cubicBezTo>
                    <a:cubicBezTo>
                      <a:pt x="75511" y="497772"/>
                      <a:pt x="75796" y="499487"/>
                      <a:pt x="76844" y="500629"/>
                    </a:cubicBezTo>
                    <a:cubicBezTo>
                      <a:pt x="80464" y="504725"/>
                      <a:pt x="80273" y="507297"/>
                      <a:pt x="73891" y="507488"/>
                    </a:cubicBezTo>
                    <a:cubicBezTo>
                      <a:pt x="72463" y="507583"/>
                      <a:pt x="71320" y="509393"/>
                      <a:pt x="71510" y="511202"/>
                    </a:cubicBezTo>
                    <a:cubicBezTo>
                      <a:pt x="72177" y="517679"/>
                      <a:pt x="65224" y="519870"/>
                      <a:pt x="63033" y="525299"/>
                    </a:cubicBezTo>
                    <a:cubicBezTo>
                      <a:pt x="60842" y="530538"/>
                      <a:pt x="56080" y="537110"/>
                      <a:pt x="50269" y="541206"/>
                    </a:cubicBezTo>
                    <a:cubicBezTo>
                      <a:pt x="49984" y="541301"/>
                      <a:pt x="49412" y="541492"/>
                      <a:pt x="49412" y="541587"/>
                    </a:cubicBezTo>
                    <a:cubicBezTo>
                      <a:pt x="49888" y="554922"/>
                      <a:pt x="39316" y="561494"/>
                      <a:pt x="32267" y="570257"/>
                    </a:cubicBezTo>
                    <a:cubicBezTo>
                      <a:pt x="31315" y="571496"/>
                      <a:pt x="29124" y="572734"/>
                      <a:pt x="29314" y="573686"/>
                    </a:cubicBezTo>
                    <a:cubicBezTo>
                      <a:pt x="30648" y="581687"/>
                      <a:pt x="24838" y="579497"/>
                      <a:pt x="21028" y="579497"/>
                    </a:cubicBezTo>
                    <a:cubicBezTo>
                      <a:pt x="14360" y="579687"/>
                      <a:pt x="11503" y="575591"/>
                      <a:pt x="9979" y="569400"/>
                    </a:cubicBezTo>
                    <a:cubicBezTo>
                      <a:pt x="8169" y="561971"/>
                      <a:pt x="11979" y="555303"/>
                      <a:pt x="11979" y="548064"/>
                    </a:cubicBezTo>
                    <a:cubicBezTo>
                      <a:pt x="12074" y="538634"/>
                      <a:pt x="11693" y="528252"/>
                      <a:pt x="15408" y="520061"/>
                    </a:cubicBezTo>
                    <a:cubicBezTo>
                      <a:pt x="19599" y="510726"/>
                      <a:pt x="21885" y="500629"/>
                      <a:pt x="26933" y="491581"/>
                    </a:cubicBezTo>
                    <a:cubicBezTo>
                      <a:pt x="29981" y="486151"/>
                      <a:pt x="34172" y="479103"/>
                      <a:pt x="37506" y="476626"/>
                    </a:cubicBezTo>
                    <a:cubicBezTo>
                      <a:pt x="46459" y="469864"/>
                      <a:pt x="45221" y="455672"/>
                      <a:pt x="54651" y="452623"/>
                    </a:cubicBezTo>
                    <a:cubicBezTo>
                      <a:pt x="61985" y="450338"/>
                      <a:pt x="61890" y="444337"/>
                      <a:pt x="65890" y="441479"/>
                    </a:cubicBezTo>
                    <a:cubicBezTo>
                      <a:pt x="69319" y="439098"/>
                      <a:pt x="73891" y="438241"/>
                      <a:pt x="76273" y="434145"/>
                    </a:cubicBezTo>
                    <a:close/>
                    <a:moveTo>
                      <a:pt x="337484" y="428358"/>
                    </a:moveTo>
                    <a:cubicBezTo>
                      <a:pt x="338639" y="428048"/>
                      <a:pt x="339782" y="428810"/>
                      <a:pt x="340591" y="431668"/>
                    </a:cubicBezTo>
                    <a:cubicBezTo>
                      <a:pt x="342496" y="438526"/>
                      <a:pt x="345163" y="437955"/>
                      <a:pt x="348687" y="432906"/>
                    </a:cubicBezTo>
                    <a:cubicBezTo>
                      <a:pt x="349068" y="432430"/>
                      <a:pt x="350021" y="431859"/>
                      <a:pt x="350021" y="431859"/>
                    </a:cubicBezTo>
                    <a:cubicBezTo>
                      <a:pt x="353831" y="435954"/>
                      <a:pt x="361737" y="434335"/>
                      <a:pt x="363260" y="440431"/>
                    </a:cubicBezTo>
                    <a:cubicBezTo>
                      <a:pt x="364308" y="444908"/>
                      <a:pt x="367071" y="446622"/>
                      <a:pt x="370214" y="448623"/>
                    </a:cubicBezTo>
                    <a:cubicBezTo>
                      <a:pt x="375548" y="452052"/>
                      <a:pt x="380977" y="455385"/>
                      <a:pt x="381453" y="462720"/>
                    </a:cubicBezTo>
                    <a:cubicBezTo>
                      <a:pt x="381453" y="463672"/>
                      <a:pt x="382787" y="465387"/>
                      <a:pt x="383739" y="465482"/>
                    </a:cubicBezTo>
                    <a:cubicBezTo>
                      <a:pt x="398027" y="467292"/>
                      <a:pt x="399265" y="483865"/>
                      <a:pt x="410600" y="489009"/>
                    </a:cubicBezTo>
                    <a:cubicBezTo>
                      <a:pt x="413362" y="490247"/>
                      <a:pt x="413172" y="493771"/>
                      <a:pt x="414314" y="496248"/>
                    </a:cubicBezTo>
                    <a:cubicBezTo>
                      <a:pt x="415553" y="498819"/>
                      <a:pt x="414124" y="507011"/>
                      <a:pt x="422220" y="502058"/>
                    </a:cubicBezTo>
                    <a:cubicBezTo>
                      <a:pt x="425078" y="500248"/>
                      <a:pt x="426316" y="505677"/>
                      <a:pt x="428602" y="507487"/>
                    </a:cubicBezTo>
                    <a:cubicBezTo>
                      <a:pt x="437651" y="514440"/>
                      <a:pt x="447366" y="520632"/>
                      <a:pt x="454796" y="529395"/>
                    </a:cubicBezTo>
                    <a:cubicBezTo>
                      <a:pt x="456415" y="531300"/>
                      <a:pt x="458225" y="533300"/>
                      <a:pt x="458987" y="535586"/>
                    </a:cubicBezTo>
                    <a:cubicBezTo>
                      <a:pt x="460320" y="539682"/>
                      <a:pt x="459939" y="545111"/>
                      <a:pt x="466893" y="542730"/>
                    </a:cubicBezTo>
                    <a:lnTo>
                      <a:pt x="466797" y="542730"/>
                    </a:lnTo>
                    <a:cubicBezTo>
                      <a:pt x="468035" y="542349"/>
                      <a:pt x="469083" y="541872"/>
                      <a:pt x="469560" y="543777"/>
                    </a:cubicBezTo>
                    <a:cubicBezTo>
                      <a:pt x="472608" y="556636"/>
                      <a:pt x="475846" y="569495"/>
                      <a:pt x="478989" y="582354"/>
                    </a:cubicBezTo>
                    <a:cubicBezTo>
                      <a:pt x="478132" y="588545"/>
                      <a:pt x="477370" y="594736"/>
                      <a:pt x="476227" y="600832"/>
                    </a:cubicBezTo>
                    <a:cubicBezTo>
                      <a:pt x="476037" y="601594"/>
                      <a:pt x="474036" y="602928"/>
                      <a:pt x="473274" y="602642"/>
                    </a:cubicBezTo>
                    <a:cubicBezTo>
                      <a:pt x="464321" y="599403"/>
                      <a:pt x="454415" y="600642"/>
                      <a:pt x="445461" y="596070"/>
                    </a:cubicBezTo>
                    <a:cubicBezTo>
                      <a:pt x="441842" y="594260"/>
                      <a:pt x="436031" y="594165"/>
                      <a:pt x="433269" y="591117"/>
                    </a:cubicBezTo>
                    <a:cubicBezTo>
                      <a:pt x="428507" y="585783"/>
                      <a:pt x="419363" y="585687"/>
                      <a:pt x="417362" y="577305"/>
                    </a:cubicBezTo>
                    <a:cubicBezTo>
                      <a:pt x="417077" y="576258"/>
                      <a:pt x="415077" y="574638"/>
                      <a:pt x="414886" y="574734"/>
                    </a:cubicBezTo>
                    <a:cubicBezTo>
                      <a:pt x="406218" y="580639"/>
                      <a:pt x="407837" y="571114"/>
                      <a:pt x="405171" y="568257"/>
                    </a:cubicBezTo>
                    <a:cubicBezTo>
                      <a:pt x="400503" y="563208"/>
                      <a:pt x="394979" y="559208"/>
                      <a:pt x="390121" y="554350"/>
                    </a:cubicBezTo>
                    <a:cubicBezTo>
                      <a:pt x="386216" y="550445"/>
                      <a:pt x="380501" y="547397"/>
                      <a:pt x="378215" y="542634"/>
                    </a:cubicBezTo>
                    <a:cubicBezTo>
                      <a:pt x="372500" y="530728"/>
                      <a:pt x="363451" y="521489"/>
                      <a:pt x="355545" y="511297"/>
                    </a:cubicBezTo>
                    <a:cubicBezTo>
                      <a:pt x="350211" y="504439"/>
                      <a:pt x="342877" y="499296"/>
                      <a:pt x="337924" y="491390"/>
                    </a:cubicBezTo>
                    <a:cubicBezTo>
                      <a:pt x="334019" y="485199"/>
                      <a:pt x="333257" y="478055"/>
                      <a:pt x="329447" y="472054"/>
                    </a:cubicBezTo>
                    <a:cubicBezTo>
                      <a:pt x="328685" y="470911"/>
                      <a:pt x="328875" y="468720"/>
                      <a:pt x="331066" y="468244"/>
                    </a:cubicBezTo>
                    <a:cubicBezTo>
                      <a:pt x="336210" y="467196"/>
                      <a:pt x="334019" y="466625"/>
                      <a:pt x="330971" y="465958"/>
                    </a:cubicBezTo>
                    <a:cubicBezTo>
                      <a:pt x="329352" y="465577"/>
                      <a:pt x="328875" y="464244"/>
                      <a:pt x="329733" y="463101"/>
                    </a:cubicBezTo>
                    <a:cubicBezTo>
                      <a:pt x="335352" y="455862"/>
                      <a:pt x="330399" y="447861"/>
                      <a:pt x="331542" y="440336"/>
                    </a:cubicBezTo>
                    <a:cubicBezTo>
                      <a:pt x="332018" y="437288"/>
                      <a:pt x="332781" y="434049"/>
                      <a:pt x="334304" y="431478"/>
                    </a:cubicBezTo>
                    <a:cubicBezTo>
                      <a:pt x="335162" y="430049"/>
                      <a:pt x="336329" y="428667"/>
                      <a:pt x="337484" y="428358"/>
                    </a:cubicBezTo>
                    <a:close/>
                    <a:moveTo>
                      <a:pt x="307445" y="252503"/>
                    </a:moveTo>
                    <a:lnTo>
                      <a:pt x="307540" y="252503"/>
                    </a:lnTo>
                    <a:lnTo>
                      <a:pt x="307505" y="252555"/>
                    </a:lnTo>
                    <a:close/>
                    <a:moveTo>
                      <a:pt x="307444" y="252218"/>
                    </a:moveTo>
                    <a:cubicBezTo>
                      <a:pt x="306873" y="252408"/>
                      <a:pt x="306492" y="253551"/>
                      <a:pt x="305920" y="254599"/>
                    </a:cubicBezTo>
                    <a:lnTo>
                      <a:pt x="306068" y="254711"/>
                    </a:lnTo>
                    <a:lnTo>
                      <a:pt x="307505" y="252555"/>
                    </a:lnTo>
                    <a:lnTo>
                      <a:pt x="309672" y="254452"/>
                    </a:lnTo>
                    <a:lnTo>
                      <a:pt x="309730" y="254218"/>
                    </a:lnTo>
                    <a:cubicBezTo>
                      <a:pt x="309825" y="252789"/>
                      <a:pt x="308873" y="251837"/>
                      <a:pt x="307444" y="252218"/>
                    </a:cubicBezTo>
                    <a:close/>
                    <a:moveTo>
                      <a:pt x="227148" y="202307"/>
                    </a:moveTo>
                    <a:cubicBezTo>
                      <a:pt x="224005" y="202783"/>
                      <a:pt x="225625" y="205640"/>
                      <a:pt x="225625" y="207641"/>
                    </a:cubicBezTo>
                    <a:cubicBezTo>
                      <a:pt x="222291" y="220404"/>
                      <a:pt x="219433" y="233453"/>
                      <a:pt x="215528" y="246122"/>
                    </a:cubicBezTo>
                    <a:cubicBezTo>
                      <a:pt x="212766" y="255170"/>
                      <a:pt x="212194" y="264981"/>
                      <a:pt x="206860" y="272982"/>
                    </a:cubicBezTo>
                    <a:cubicBezTo>
                      <a:pt x="203146" y="278602"/>
                      <a:pt x="200955" y="284698"/>
                      <a:pt x="198383" y="290699"/>
                    </a:cubicBezTo>
                    <a:cubicBezTo>
                      <a:pt x="197812" y="292032"/>
                      <a:pt x="198193" y="294509"/>
                      <a:pt x="196192" y="294128"/>
                    </a:cubicBezTo>
                    <a:cubicBezTo>
                      <a:pt x="187048" y="292223"/>
                      <a:pt x="189048" y="303653"/>
                      <a:pt x="182667" y="305367"/>
                    </a:cubicBezTo>
                    <a:cubicBezTo>
                      <a:pt x="180857" y="305939"/>
                      <a:pt x="181619" y="309082"/>
                      <a:pt x="182667" y="311844"/>
                    </a:cubicBezTo>
                    <a:cubicBezTo>
                      <a:pt x="184762" y="317273"/>
                      <a:pt x="190763" y="319559"/>
                      <a:pt x="192382" y="324131"/>
                    </a:cubicBezTo>
                    <a:cubicBezTo>
                      <a:pt x="197050" y="337181"/>
                      <a:pt x="201812" y="350420"/>
                      <a:pt x="204003" y="363946"/>
                    </a:cubicBezTo>
                    <a:cubicBezTo>
                      <a:pt x="208003" y="388425"/>
                      <a:pt x="208479" y="413476"/>
                      <a:pt x="215528" y="439384"/>
                    </a:cubicBezTo>
                    <a:cubicBezTo>
                      <a:pt x="217909" y="428525"/>
                      <a:pt x="220291" y="419000"/>
                      <a:pt x="222100" y="409475"/>
                    </a:cubicBezTo>
                    <a:cubicBezTo>
                      <a:pt x="223434" y="402713"/>
                      <a:pt x="225529" y="395759"/>
                      <a:pt x="221148" y="389282"/>
                    </a:cubicBezTo>
                    <a:cubicBezTo>
                      <a:pt x="233816" y="383567"/>
                      <a:pt x="216385" y="368899"/>
                      <a:pt x="228958" y="363184"/>
                    </a:cubicBezTo>
                    <a:cubicBezTo>
                      <a:pt x="226958" y="349754"/>
                      <a:pt x="232673" y="338609"/>
                      <a:pt x="239626" y="328037"/>
                    </a:cubicBezTo>
                    <a:cubicBezTo>
                      <a:pt x="241627" y="324989"/>
                      <a:pt x="243627" y="320798"/>
                      <a:pt x="243627" y="318512"/>
                    </a:cubicBezTo>
                    <a:cubicBezTo>
                      <a:pt x="243627" y="311463"/>
                      <a:pt x="248008" y="310606"/>
                      <a:pt x="252390" y="311177"/>
                    </a:cubicBezTo>
                    <a:cubicBezTo>
                      <a:pt x="258010" y="311939"/>
                      <a:pt x="260581" y="310130"/>
                      <a:pt x="260677" y="304891"/>
                    </a:cubicBezTo>
                    <a:cubicBezTo>
                      <a:pt x="265248" y="305843"/>
                      <a:pt x="262486" y="311082"/>
                      <a:pt x="265820" y="313368"/>
                    </a:cubicBezTo>
                    <a:cubicBezTo>
                      <a:pt x="266011" y="304700"/>
                      <a:pt x="266106" y="304510"/>
                      <a:pt x="271630" y="308034"/>
                    </a:cubicBezTo>
                    <a:cubicBezTo>
                      <a:pt x="273821" y="309463"/>
                      <a:pt x="273345" y="307463"/>
                      <a:pt x="273345" y="306891"/>
                    </a:cubicBezTo>
                    <a:cubicBezTo>
                      <a:pt x="273726" y="301367"/>
                      <a:pt x="277536" y="303462"/>
                      <a:pt x="279155" y="304986"/>
                    </a:cubicBezTo>
                    <a:cubicBezTo>
                      <a:pt x="285823" y="311177"/>
                      <a:pt x="287346" y="301081"/>
                      <a:pt x="292490" y="300605"/>
                    </a:cubicBezTo>
                    <a:lnTo>
                      <a:pt x="292490" y="300509"/>
                    </a:lnTo>
                    <a:cubicBezTo>
                      <a:pt x="296110" y="300128"/>
                      <a:pt x="301063" y="297080"/>
                      <a:pt x="306587" y="296795"/>
                    </a:cubicBezTo>
                    <a:cubicBezTo>
                      <a:pt x="302587" y="289460"/>
                      <a:pt x="295633" y="287555"/>
                      <a:pt x="290109" y="283650"/>
                    </a:cubicBezTo>
                    <a:cubicBezTo>
                      <a:pt x="283632" y="278983"/>
                      <a:pt x="278774" y="272030"/>
                      <a:pt x="271249" y="268220"/>
                    </a:cubicBezTo>
                    <a:cubicBezTo>
                      <a:pt x="268773" y="266981"/>
                      <a:pt x="269440" y="261171"/>
                      <a:pt x="264391" y="262505"/>
                    </a:cubicBezTo>
                    <a:cubicBezTo>
                      <a:pt x="264391" y="257075"/>
                      <a:pt x="257629" y="260314"/>
                      <a:pt x="256485" y="256504"/>
                    </a:cubicBezTo>
                    <a:cubicBezTo>
                      <a:pt x="254009" y="248408"/>
                      <a:pt x="244484" y="246217"/>
                      <a:pt x="241817" y="238216"/>
                    </a:cubicBezTo>
                    <a:cubicBezTo>
                      <a:pt x="240769" y="235168"/>
                      <a:pt x="231625" y="234596"/>
                      <a:pt x="239341" y="228881"/>
                    </a:cubicBezTo>
                    <a:cubicBezTo>
                      <a:pt x="240864" y="227738"/>
                      <a:pt x="238960" y="227167"/>
                      <a:pt x="237912" y="226595"/>
                    </a:cubicBezTo>
                    <a:cubicBezTo>
                      <a:pt x="233959" y="224690"/>
                      <a:pt x="231983" y="221666"/>
                      <a:pt x="230673" y="218273"/>
                    </a:cubicBezTo>
                    <a:lnTo>
                      <a:pt x="227460" y="207822"/>
                    </a:lnTo>
                    <a:lnTo>
                      <a:pt x="227435" y="207831"/>
                    </a:lnTo>
                    <a:lnTo>
                      <a:pt x="227435" y="207739"/>
                    </a:lnTo>
                    <a:lnTo>
                      <a:pt x="227434" y="207736"/>
                    </a:lnTo>
                    <a:lnTo>
                      <a:pt x="225625" y="207736"/>
                    </a:lnTo>
                    <a:cubicBezTo>
                      <a:pt x="225625" y="205736"/>
                      <a:pt x="224006" y="202878"/>
                      <a:pt x="227149" y="202402"/>
                    </a:cubicBezTo>
                    <a:lnTo>
                      <a:pt x="230893" y="206520"/>
                    </a:lnTo>
                    <a:lnTo>
                      <a:pt x="230958" y="206498"/>
                    </a:lnTo>
                    <a:cubicBezTo>
                      <a:pt x="230958" y="204021"/>
                      <a:pt x="229435" y="201926"/>
                      <a:pt x="227148" y="202307"/>
                    </a:cubicBezTo>
                    <a:close/>
                    <a:moveTo>
                      <a:pt x="369030" y="114657"/>
                    </a:moveTo>
                    <a:lnTo>
                      <a:pt x="369595" y="117844"/>
                    </a:lnTo>
                    <a:lnTo>
                      <a:pt x="372426" y="120014"/>
                    </a:lnTo>
                    <a:close/>
                    <a:moveTo>
                      <a:pt x="370977" y="112010"/>
                    </a:moveTo>
                    <a:lnTo>
                      <a:pt x="370662" y="112270"/>
                    </a:lnTo>
                    <a:lnTo>
                      <a:pt x="372693" y="120219"/>
                    </a:lnTo>
                    <a:lnTo>
                      <a:pt x="373167" y="120582"/>
                    </a:lnTo>
                    <a:cubicBezTo>
                      <a:pt x="374691" y="116391"/>
                      <a:pt x="372215" y="114391"/>
                      <a:pt x="370977" y="112010"/>
                    </a:cubicBezTo>
                    <a:close/>
                    <a:moveTo>
                      <a:pt x="442402" y="19082"/>
                    </a:moveTo>
                    <a:cubicBezTo>
                      <a:pt x="444867" y="19784"/>
                      <a:pt x="447462" y="20713"/>
                      <a:pt x="449844" y="19427"/>
                    </a:cubicBezTo>
                    <a:cubicBezTo>
                      <a:pt x="450225" y="19236"/>
                      <a:pt x="450415" y="24094"/>
                      <a:pt x="450606" y="27333"/>
                    </a:cubicBezTo>
                    <a:cubicBezTo>
                      <a:pt x="453273" y="40763"/>
                      <a:pt x="445748" y="53431"/>
                      <a:pt x="444129" y="67052"/>
                    </a:cubicBezTo>
                    <a:cubicBezTo>
                      <a:pt x="443462" y="72767"/>
                      <a:pt x="436699" y="80006"/>
                      <a:pt x="434889" y="85530"/>
                    </a:cubicBezTo>
                    <a:cubicBezTo>
                      <a:pt x="431460" y="95913"/>
                      <a:pt x="422031" y="99818"/>
                      <a:pt x="417649" y="108200"/>
                    </a:cubicBezTo>
                    <a:cubicBezTo>
                      <a:pt x="414696" y="113724"/>
                      <a:pt x="408029" y="113248"/>
                      <a:pt x="403552" y="116963"/>
                    </a:cubicBezTo>
                    <a:cubicBezTo>
                      <a:pt x="398313" y="121249"/>
                      <a:pt x="398123" y="121059"/>
                      <a:pt x="390408" y="127440"/>
                    </a:cubicBezTo>
                    <a:cubicBezTo>
                      <a:pt x="385359" y="131631"/>
                      <a:pt x="376596" y="136013"/>
                      <a:pt x="369262" y="132298"/>
                    </a:cubicBezTo>
                    <a:lnTo>
                      <a:pt x="369548" y="132298"/>
                    </a:lnTo>
                    <a:cubicBezTo>
                      <a:pt x="366690" y="130869"/>
                      <a:pt x="360880" y="134489"/>
                      <a:pt x="361547" y="129536"/>
                    </a:cubicBezTo>
                    <a:cubicBezTo>
                      <a:pt x="362404" y="122297"/>
                      <a:pt x="360975" y="114201"/>
                      <a:pt x="366690" y="107914"/>
                    </a:cubicBezTo>
                    <a:cubicBezTo>
                      <a:pt x="370024" y="104199"/>
                      <a:pt x="376025" y="102866"/>
                      <a:pt x="376406" y="96484"/>
                    </a:cubicBezTo>
                    <a:cubicBezTo>
                      <a:pt x="376501" y="95627"/>
                      <a:pt x="380883" y="95817"/>
                      <a:pt x="376787" y="93531"/>
                    </a:cubicBezTo>
                    <a:cubicBezTo>
                      <a:pt x="372215" y="91055"/>
                      <a:pt x="375072" y="86578"/>
                      <a:pt x="376787" y="84578"/>
                    </a:cubicBezTo>
                    <a:cubicBezTo>
                      <a:pt x="384978" y="75243"/>
                      <a:pt x="388407" y="62670"/>
                      <a:pt x="397075" y="53717"/>
                    </a:cubicBezTo>
                    <a:cubicBezTo>
                      <a:pt x="398885" y="51812"/>
                      <a:pt x="400218" y="46954"/>
                      <a:pt x="405362" y="50193"/>
                    </a:cubicBezTo>
                    <a:cubicBezTo>
                      <a:pt x="407267" y="51336"/>
                      <a:pt x="409172" y="47907"/>
                      <a:pt x="410220" y="45621"/>
                    </a:cubicBezTo>
                    <a:cubicBezTo>
                      <a:pt x="411553" y="42573"/>
                      <a:pt x="410791" y="36000"/>
                      <a:pt x="417363" y="41144"/>
                    </a:cubicBezTo>
                    <a:cubicBezTo>
                      <a:pt x="417459" y="41144"/>
                      <a:pt x="419268" y="39810"/>
                      <a:pt x="419268" y="39239"/>
                    </a:cubicBezTo>
                    <a:cubicBezTo>
                      <a:pt x="418316" y="27237"/>
                      <a:pt x="430222" y="26475"/>
                      <a:pt x="435747" y="20094"/>
                    </a:cubicBezTo>
                    <a:cubicBezTo>
                      <a:pt x="437604" y="17903"/>
                      <a:pt x="439938" y="18379"/>
                      <a:pt x="442402" y="19082"/>
                    </a:cubicBezTo>
                    <a:close/>
                    <a:moveTo>
                      <a:pt x="78559" y="12568"/>
                    </a:moveTo>
                    <a:cubicBezTo>
                      <a:pt x="82845" y="13521"/>
                      <a:pt x="84941" y="17712"/>
                      <a:pt x="84560" y="22569"/>
                    </a:cubicBezTo>
                    <a:cubicBezTo>
                      <a:pt x="84465" y="24093"/>
                      <a:pt x="84560" y="25808"/>
                      <a:pt x="86465" y="26284"/>
                    </a:cubicBezTo>
                    <a:lnTo>
                      <a:pt x="86465" y="26570"/>
                    </a:lnTo>
                    <a:lnTo>
                      <a:pt x="86560" y="26570"/>
                    </a:lnTo>
                    <a:cubicBezTo>
                      <a:pt x="86179" y="29713"/>
                      <a:pt x="84369" y="32856"/>
                      <a:pt x="87036" y="36762"/>
                    </a:cubicBezTo>
                    <a:lnTo>
                      <a:pt x="87036" y="32672"/>
                    </a:lnTo>
                    <a:lnTo>
                      <a:pt x="86751" y="26571"/>
                    </a:lnTo>
                    <a:lnTo>
                      <a:pt x="86751" y="26570"/>
                    </a:lnTo>
                    <a:lnTo>
                      <a:pt x="86756" y="26577"/>
                    </a:lnTo>
                    <a:lnTo>
                      <a:pt x="86878" y="26730"/>
                    </a:lnTo>
                    <a:lnTo>
                      <a:pt x="86774" y="26522"/>
                    </a:lnTo>
                    <a:lnTo>
                      <a:pt x="86750" y="26570"/>
                    </a:lnTo>
                    <a:lnTo>
                      <a:pt x="86750" y="26474"/>
                    </a:lnTo>
                    <a:lnTo>
                      <a:pt x="86655" y="26284"/>
                    </a:lnTo>
                    <a:lnTo>
                      <a:pt x="86560" y="26284"/>
                    </a:lnTo>
                    <a:lnTo>
                      <a:pt x="87132" y="21807"/>
                    </a:lnTo>
                    <a:cubicBezTo>
                      <a:pt x="88084" y="22379"/>
                      <a:pt x="89418" y="22665"/>
                      <a:pt x="89989" y="23427"/>
                    </a:cubicBezTo>
                    <a:cubicBezTo>
                      <a:pt x="91608" y="25713"/>
                      <a:pt x="93418" y="28094"/>
                      <a:pt x="94180" y="30761"/>
                    </a:cubicBezTo>
                    <a:cubicBezTo>
                      <a:pt x="96942" y="40857"/>
                      <a:pt x="105420" y="46572"/>
                      <a:pt x="112087" y="53145"/>
                    </a:cubicBezTo>
                    <a:cubicBezTo>
                      <a:pt x="116373" y="57336"/>
                      <a:pt x="120755" y="60288"/>
                      <a:pt x="120564" y="66861"/>
                    </a:cubicBezTo>
                    <a:cubicBezTo>
                      <a:pt x="120469" y="70861"/>
                      <a:pt x="125898" y="69528"/>
                      <a:pt x="126565" y="72385"/>
                    </a:cubicBezTo>
                    <a:cubicBezTo>
                      <a:pt x="129708" y="86101"/>
                      <a:pt x="132756" y="100008"/>
                      <a:pt x="124851" y="113152"/>
                    </a:cubicBezTo>
                    <a:cubicBezTo>
                      <a:pt x="123517" y="115343"/>
                      <a:pt x="123136" y="117057"/>
                      <a:pt x="123422" y="119153"/>
                    </a:cubicBezTo>
                    <a:cubicBezTo>
                      <a:pt x="123803" y="121629"/>
                      <a:pt x="131709" y="123344"/>
                      <a:pt x="124374" y="126582"/>
                    </a:cubicBezTo>
                    <a:cubicBezTo>
                      <a:pt x="120088" y="128487"/>
                      <a:pt x="115326" y="133917"/>
                      <a:pt x="111135" y="126487"/>
                    </a:cubicBezTo>
                    <a:cubicBezTo>
                      <a:pt x="108658" y="121915"/>
                      <a:pt x="103610" y="121058"/>
                      <a:pt x="99895" y="118200"/>
                    </a:cubicBezTo>
                    <a:cubicBezTo>
                      <a:pt x="97038" y="116010"/>
                      <a:pt x="95609" y="113438"/>
                      <a:pt x="93704" y="110676"/>
                    </a:cubicBezTo>
                    <a:lnTo>
                      <a:pt x="93609" y="110676"/>
                    </a:lnTo>
                    <a:cubicBezTo>
                      <a:pt x="87894" y="102675"/>
                      <a:pt x="80940" y="95626"/>
                      <a:pt x="74273" y="88387"/>
                    </a:cubicBezTo>
                    <a:cubicBezTo>
                      <a:pt x="64367" y="77624"/>
                      <a:pt x="55128" y="66003"/>
                      <a:pt x="59985" y="50478"/>
                    </a:cubicBezTo>
                    <a:cubicBezTo>
                      <a:pt x="63224" y="40191"/>
                      <a:pt x="64653" y="29332"/>
                      <a:pt x="68844" y="19236"/>
                    </a:cubicBezTo>
                    <a:cubicBezTo>
                      <a:pt x="70844" y="14283"/>
                      <a:pt x="74178" y="11616"/>
                      <a:pt x="78559" y="12568"/>
                    </a:cubicBezTo>
                    <a:close/>
                    <a:moveTo>
                      <a:pt x="236197" y="1043"/>
                    </a:moveTo>
                    <a:cubicBezTo>
                      <a:pt x="247818" y="6187"/>
                      <a:pt x="246865" y="17712"/>
                      <a:pt x="251914" y="25999"/>
                    </a:cubicBezTo>
                    <a:cubicBezTo>
                      <a:pt x="252961" y="27713"/>
                      <a:pt x="253342" y="32952"/>
                      <a:pt x="248199" y="28761"/>
                    </a:cubicBezTo>
                    <a:cubicBezTo>
                      <a:pt x="245532" y="32666"/>
                      <a:pt x="250389" y="35619"/>
                      <a:pt x="249627" y="39239"/>
                    </a:cubicBezTo>
                    <a:cubicBezTo>
                      <a:pt x="254962" y="36381"/>
                      <a:pt x="252104" y="40286"/>
                      <a:pt x="252295" y="42287"/>
                    </a:cubicBezTo>
                    <a:cubicBezTo>
                      <a:pt x="252771" y="47525"/>
                      <a:pt x="248104" y="42287"/>
                      <a:pt x="247151" y="45335"/>
                    </a:cubicBezTo>
                    <a:cubicBezTo>
                      <a:pt x="251342" y="48192"/>
                      <a:pt x="251342" y="51907"/>
                      <a:pt x="250675" y="57050"/>
                    </a:cubicBezTo>
                    <a:cubicBezTo>
                      <a:pt x="249532" y="65623"/>
                      <a:pt x="251533" y="74291"/>
                      <a:pt x="255057" y="82387"/>
                    </a:cubicBezTo>
                    <a:cubicBezTo>
                      <a:pt x="256581" y="85911"/>
                      <a:pt x="256009" y="89721"/>
                      <a:pt x="256771" y="93055"/>
                    </a:cubicBezTo>
                    <a:cubicBezTo>
                      <a:pt x="259724" y="105914"/>
                      <a:pt x="263629" y="118582"/>
                      <a:pt x="267249" y="131345"/>
                    </a:cubicBezTo>
                    <a:cubicBezTo>
                      <a:pt x="267725" y="132869"/>
                      <a:pt x="268677" y="134298"/>
                      <a:pt x="269630" y="135441"/>
                    </a:cubicBezTo>
                    <a:cubicBezTo>
                      <a:pt x="274773" y="141632"/>
                      <a:pt x="280965" y="146395"/>
                      <a:pt x="281250" y="156206"/>
                    </a:cubicBezTo>
                    <a:cubicBezTo>
                      <a:pt x="281536" y="165921"/>
                      <a:pt x="291728" y="171350"/>
                      <a:pt x="297824" y="177446"/>
                    </a:cubicBezTo>
                    <a:cubicBezTo>
                      <a:pt x="303158" y="182780"/>
                      <a:pt x="308492" y="189734"/>
                      <a:pt x="316493" y="192877"/>
                    </a:cubicBezTo>
                    <a:cubicBezTo>
                      <a:pt x="323923" y="195734"/>
                      <a:pt x="328685" y="202973"/>
                      <a:pt x="336019" y="206307"/>
                    </a:cubicBezTo>
                    <a:cubicBezTo>
                      <a:pt x="339163" y="207736"/>
                      <a:pt x="343639" y="208688"/>
                      <a:pt x="343639" y="213546"/>
                    </a:cubicBezTo>
                    <a:cubicBezTo>
                      <a:pt x="343639" y="215927"/>
                      <a:pt x="344973" y="215165"/>
                      <a:pt x="345925" y="214880"/>
                    </a:cubicBezTo>
                    <a:cubicBezTo>
                      <a:pt x="352879" y="212403"/>
                      <a:pt x="360213" y="215070"/>
                      <a:pt x="366214" y="220785"/>
                    </a:cubicBezTo>
                    <a:cubicBezTo>
                      <a:pt x="366975" y="221452"/>
                      <a:pt x="371071" y="222595"/>
                      <a:pt x="373738" y="223071"/>
                    </a:cubicBezTo>
                    <a:cubicBezTo>
                      <a:pt x="378882" y="224024"/>
                      <a:pt x="381644" y="226976"/>
                      <a:pt x="384978" y="231072"/>
                    </a:cubicBezTo>
                    <a:cubicBezTo>
                      <a:pt x="387550" y="234215"/>
                      <a:pt x="394217" y="234215"/>
                      <a:pt x="399170" y="235168"/>
                    </a:cubicBezTo>
                    <a:cubicBezTo>
                      <a:pt x="403742" y="236025"/>
                      <a:pt x="408314" y="234787"/>
                      <a:pt x="412696" y="238787"/>
                    </a:cubicBezTo>
                    <a:cubicBezTo>
                      <a:pt x="413934" y="240026"/>
                      <a:pt x="421077" y="242883"/>
                      <a:pt x="425364" y="239073"/>
                    </a:cubicBezTo>
                    <a:cubicBezTo>
                      <a:pt x="429841" y="246122"/>
                      <a:pt x="437365" y="243550"/>
                      <a:pt x="443175" y="243550"/>
                    </a:cubicBezTo>
                    <a:cubicBezTo>
                      <a:pt x="451272" y="243550"/>
                      <a:pt x="458987" y="247741"/>
                      <a:pt x="466131" y="246693"/>
                    </a:cubicBezTo>
                    <a:cubicBezTo>
                      <a:pt x="472703" y="245741"/>
                      <a:pt x="478227" y="246788"/>
                      <a:pt x="484419" y="247741"/>
                    </a:cubicBezTo>
                    <a:cubicBezTo>
                      <a:pt x="496611" y="249455"/>
                      <a:pt x="499849" y="259361"/>
                      <a:pt x="503278" y="268029"/>
                    </a:cubicBezTo>
                    <a:cubicBezTo>
                      <a:pt x="505183" y="272792"/>
                      <a:pt x="507279" y="278507"/>
                      <a:pt x="505755" y="284603"/>
                    </a:cubicBezTo>
                    <a:cubicBezTo>
                      <a:pt x="504517" y="289841"/>
                      <a:pt x="509279" y="288222"/>
                      <a:pt x="512041" y="288698"/>
                    </a:cubicBezTo>
                    <a:lnTo>
                      <a:pt x="511851" y="288794"/>
                    </a:lnTo>
                    <a:lnTo>
                      <a:pt x="511851" y="290699"/>
                    </a:lnTo>
                    <a:cubicBezTo>
                      <a:pt x="507469" y="297080"/>
                      <a:pt x="509470" y="304224"/>
                      <a:pt x="509470" y="311082"/>
                    </a:cubicBezTo>
                    <a:cubicBezTo>
                      <a:pt x="509470" y="312320"/>
                      <a:pt x="510898" y="313749"/>
                      <a:pt x="510898" y="315464"/>
                    </a:cubicBezTo>
                    <a:cubicBezTo>
                      <a:pt x="510803" y="320512"/>
                      <a:pt x="509660" y="325179"/>
                      <a:pt x="505183" y="328322"/>
                    </a:cubicBezTo>
                    <a:cubicBezTo>
                      <a:pt x="510517" y="332990"/>
                      <a:pt x="508803" y="339657"/>
                      <a:pt x="505945" y="343277"/>
                    </a:cubicBezTo>
                    <a:cubicBezTo>
                      <a:pt x="497849" y="353564"/>
                      <a:pt x="488800" y="363279"/>
                      <a:pt x="474798" y="366041"/>
                    </a:cubicBezTo>
                    <a:cubicBezTo>
                      <a:pt x="463559" y="368327"/>
                      <a:pt x="452034" y="366803"/>
                      <a:pt x="440699" y="367946"/>
                    </a:cubicBezTo>
                    <a:cubicBezTo>
                      <a:pt x="433746" y="368613"/>
                      <a:pt x="430602" y="376043"/>
                      <a:pt x="423078" y="374138"/>
                    </a:cubicBezTo>
                    <a:cubicBezTo>
                      <a:pt x="420125" y="373471"/>
                      <a:pt x="415934" y="375662"/>
                      <a:pt x="412124" y="374138"/>
                    </a:cubicBezTo>
                    <a:cubicBezTo>
                      <a:pt x="409552" y="373090"/>
                      <a:pt x="407266" y="374614"/>
                      <a:pt x="404885" y="374995"/>
                    </a:cubicBezTo>
                    <a:cubicBezTo>
                      <a:pt x="390883" y="376995"/>
                      <a:pt x="379072" y="384806"/>
                      <a:pt x="365928" y="388901"/>
                    </a:cubicBezTo>
                    <a:cubicBezTo>
                      <a:pt x="354307" y="392521"/>
                      <a:pt x="342115" y="393569"/>
                      <a:pt x="330114" y="395664"/>
                    </a:cubicBezTo>
                    <a:cubicBezTo>
                      <a:pt x="328780" y="395855"/>
                      <a:pt x="327447" y="396521"/>
                      <a:pt x="326304" y="396045"/>
                    </a:cubicBezTo>
                    <a:cubicBezTo>
                      <a:pt x="316398" y="392045"/>
                      <a:pt x="308302" y="397283"/>
                      <a:pt x="300015" y="401189"/>
                    </a:cubicBezTo>
                    <a:cubicBezTo>
                      <a:pt x="296205" y="402903"/>
                      <a:pt x="293538" y="403189"/>
                      <a:pt x="289442" y="401284"/>
                    </a:cubicBezTo>
                    <a:cubicBezTo>
                      <a:pt x="279536" y="396521"/>
                      <a:pt x="266296" y="406904"/>
                      <a:pt x="265534" y="417667"/>
                    </a:cubicBezTo>
                    <a:cubicBezTo>
                      <a:pt x="264391" y="432050"/>
                      <a:pt x="263439" y="446337"/>
                      <a:pt x="262200" y="460625"/>
                    </a:cubicBezTo>
                    <a:cubicBezTo>
                      <a:pt x="261534" y="467768"/>
                      <a:pt x="264868" y="475007"/>
                      <a:pt x="262772" y="481484"/>
                    </a:cubicBezTo>
                    <a:cubicBezTo>
                      <a:pt x="256104" y="502344"/>
                      <a:pt x="260296" y="523490"/>
                      <a:pt x="260105" y="544445"/>
                    </a:cubicBezTo>
                    <a:cubicBezTo>
                      <a:pt x="260105" y="556065"/>
                      <a:pt x="253437" y="565685"/>
                      <a:pt x="253152" y="577115"/>
                    </a:cubicBezTo>
                    <a:cubicBezTo>
                      <a:pt x="252771" y="591498"/>
                      <a:pt x="249627" y="605595"/>
                      <a:pt x="249627" y="620073"/>
                    </a:cubicBezTo>
                    <a:cubicBezTo>
                      <a:pt x="249627" y="629693"/>
                      <a:pt x="247437" y="639123"/>
                      <a:pt x="246008" y="648553"/>
                    </a:cubicBezTo>
                    <a:cubicBezTo>
                      <a:pt x="244675" y="657125"/>
                      <a:pt x="245818" y="666079"/>
                      <a:pt x="244865" y="674842"/>
                    </a:cubicBezTo>
                    <a:cubicBezTo>
                      <a:pt x="243436" y="687986"/>
                      <a:pt x="247151" y="701417"/>
                      <a:pt x="245056" y="714561"/>
                    </a:cubicBezTo>
                    <a:cubicBezTo>
                      <a:pt x="242293" y="731516"/>
                      <a:pt x="244294" y="748470"/>
                      <a:pt x="242674" y="765425"/>
                    </a:cubicBezTo>
                    <a:cubicBezTo>
                      <a:pt x="242103" y="771140"/>
                      <a:pt x="238674" y="773711"/>
                      <a:pt x="234673" y="776474"/>
                    </a:cubicBezTo>
                    <a:lnTo>
                      <a:pt x="223339" y="776474"/>
                    </a:lnTo>
                    <a:lnTo>
                      <a:pt x="223148" y="776474"/>
                    </a:lnTo>
                    <a:lnTo>
                      <a:pt x="213719" y="776474"/>
                    </a:lnTo>
                    <a:lnTo>
                      <a:pt x="213528" y="776474"/>
                    </a:lnTo>
                    <a:lnTo>
                      <a:pt x="207718" y="776474"/>
                    </a:lnTo>
                    <a:cubicBezTo>
                      <a:pt x="208384" y="767615"/>
                      <a:pt x="199907" y="764091"/>
                      <a:pt x="196383" y="757614"/>
                    </a:cubicBezTo>
                    <a:cubicBezTo>
                      <a:pt x="195049" y="755328"/>
                      <a:pt x="193144" y="752185"/>
                      <a:pt x="193144" y="750375"/>
                    </a:cubicBezTo>
                    <a:cubicBezTo>
                      <a:pt x="193525" y="740755"/>
                      <a:pt x="188668" y="732468"/>
                      <a:pt x="187620" y="723419"/>
                    </a:cubicBezTo>
                    <a:cubicBezTo>
                      <a:pt x="187334" y="721229"/>
                      <a:pt x="185334" y="720657"/>
                      <a:pt x="185620" y="719038"/>
                    </a:cubicBezTo>
                    <a:cubicBezTo>
                      <a:pt x="189144" y="699893"/>
                      <a:pt x="179904" y="682271"/>
                      <a:pt x="178857" y="663602"/>
                    </a:cubicBezTo>
                    <a:cubicBezTo>
                      <a:pt x="178666" y="659983"/>
                      <a:pt x="181714" y="658649"/>
                      <a:pt x="181238" y="654744"/>
                    </a:cubicBezTo>
                    <a:cubicBezTo>
                      <a:pt x="178190" y="628074"/>
                      <a:pt x="182571" y="601309"/>
                      <a:pt x="180667" y="574639"/>
                    </a:cubicBezTo>
                    <a:cubicBezTo>
                      <a:pt x="180190" y="568638"/>
                      <a:pt x="175237" y="561875"/>
                      <a:pt x="184286" y="558065"/>
                    </a:cubicBezTo>
                    <a:cubicBezTo>
                      <a:pt x="180000" y="551684"/>
                      <a:pt x="182191" y="544064"/>
                      <a:pt x="180762" y="537110"/>
                    </a:cubicBezTo>
                    <a:cubicBezTo>
                      <a:pt x="178952" y="527871"/>
                      <a:pt x="177619" y="518918"/>
                      <a:pt x="179428" y="508821"/>
                    </a:cubicBezTo>
                    <a:cubicBezTo>
                      <a:pt x="180381" y="503392"/>
                      <a:pt x="180095" y="495010"/>
                      <a:pt x="178095" y="487580"/>
                    </a:cubicBezTo>
                    <a:cubicBezTo>
                      <a:pt x="175714" y="478627"/>
                      <a:pt x="174666" y="468245"/>
                      <a:pt x="174380" y="458624"/>
                    </a:cubicBezTo>
                    <a:cubicBezTo>
                      <a:pt x="173999" y="445575"/>
                      <a:pt x="170189" y="432907"/>
                      <a:pt x="170856" y="419858"/>
                    </a:cubicBezTo>
                    <a:cubicBezTo>
                      <a:pt x="158759" y="415667"/>
                      <a:pt x="170475" y="404999"/>
                      <a:pt x="164760" y="397950"/>
                    </a:cubicBezTo>
                    <a:cubicBezTo>
                      <a:pt x="160188" y="392426"/>
                      <a:pt x="157140" y="384996"/>
                      <a:pt x="151901" y="379853"/>
                    </a:cubicBezTo>
                    <a:cubicBezTo>
                      <a:pt x="149234" y="377186"/>
                      <a:pt x="150472" y="370232"/>
                      <a:pt x="144091" y="371661"/>
                    </a:cubicBezTo>
                    <a:cubicBezTo>
                      <a:pt x="131613" y="374614"/>
                      <a:pt x="121897" y="362612"/>
                      <a:pt x="110848" y="364327"/>
                    </a:cubicBezTo>
                    <a:cubicBezTo>
                      <a:pt x="102562" y="365660"/>
                      <a:pt x="95132" y="360136"/>
                      <a:pt x="86941" y="364041"/>
                    </a:cubicBezTo>
                    <a:cubicBezTo>
                      <a:pt x="83607" y="365565"/>
                      <a:pt x="78749" y="365375"/>
                      <a:pt x="74272" y="361565"/>
                    </a:cubicBezTo>
                    <a:cubicBezTo>
                      <a:pt x="71224" y="358993"/>
                      <a:pt x="64271" y="361088"/>
                      <a:pt x="59032" y="360803"/>
                    </a:cubicBezTo>
                    <a:cubicBezTo>
                      <a:pt x="53222" y="360517"/>
                      <a:pt x="47507" y="362993"/>
                      <a:pt x="41792" y="361184"/>
                    </a:cubicBezTo>
                    <a:cubicBezTo>
                      <a:pt x="40649" y="360803"/>
                      <a:pt x="39887" y="360136"/>
                      <a:pt x="38649" y="361374"/>
                    </a:cubicBezTo>
                    <a:cubicBezTo>
                      <a:pt x="35887" y="363946"/>
                      <a:pt x="33886" y="360898"/>
                      <a:pt x="32362" y="361946"/>
                    </a:cubicBezTo>
                    <a:cubicBezTo>
                      <a:pt x="27219" y="365375"/>
                      <a:pt x="23599" y="359850"/>
                      <a:pt x="19408" y="361374"/>
                    </a:cubicBezTo>
                    <a:cubicBezTo>
                      <a:pt x="11312" y="364422"/>
                      <a:pt x="2168" y="356135"/>
                      <a:pt x="930" y="347563"/>
                    </a:cubicBezTo>
                    <a:cubicBezTo>
                      <a:pt x="-23" y="341181"/>
                      <a:pt x="-785" y="335466"/>
                      <a:pt x="1501" y="329465"/>
                    </a:cubicBezTo>
                    <a:cubicBezTo>
                      <a:pt x="2644" y="326322"/>
                      <a:pt x="-499" y="320131"/>
                      <a:pt x="7216" y="322417"/>
                    </a:cubicBezTo>
                    <a:cubicBezTo>
                      <a:pt x="7502" y="322512"/>
                      <a:pt x="8835" y="320607"/>
                      <a:pt x="8740" y="320417"/>
                    </a:cubicBezTo>
                    <a:cubicBezTo>
                      <a:pt x="1120" y="310606"/>
                      <a:pt x="14836" y="316130"/>
                      <a:pt x="14836" y="311844"/>
                    </a:cubicBezTo>
                    <a:cubicBezTo>
                      <a:pt x="3406" y="308225"/>
                      <a:pt x="3883" y="308320"/>
                      <a:pt x="7216" y="296509"/>
                    </a:cubicBezTo>
                    <a:cubicBezTo>
                      <a:pt x="9026" y="290318"/>
                      <a:pt x="13884" y="286317"/>
                      <a:pt x="15408" y="280126"/>
                    </a:cubicBezTo>
                    <a:cubicBezTo>
                      <a:pt x="17503" y="271839"/>
                      <a:pt x="25885" y="277554"/>
                      <a:pt x="30743" y="274316"/>
                    </a:cubicBezTo>
                    <a:cubicBezTo>
                      <a:pt x="35887" y="270887"/>
                      <a:pt x="42840" y="275840"/>
                      <a:pt x="48460" y="269839"/>
                    </a:cubicBezTo>
                    <a:cubicBezTo>
                      <a:pt x="52365" y="265648"/>
                      <a:pt x="59032" y="269553"/>
                      <a:pt x="58556" y="274887"/>
                    </a:cubicBezTo>
                    <a:cubicBezTo>
                      <a:pt x="59508" y="274601"/>
                      <a:pt x="60842" y="274506"/>
                      <a:pt x="60937" y="274030"/>
                    </a:cubicBezTo>
                    <a:cubicBezTo>
                      <a:pt x="62271" y="268791"/>
                      <a:pt x="64557" y="266505"/>
                      <a:pt x="70558" y="268410"/>
                    </a:cubicBezTo>
                    <a:cubicBezTo>
                      <a:pt x="71986" y="268886"/>
                      <a:pt x="75891" y="267934"/>
                      <a:pt x="78749" y="265362"/>
                    </a:cubicBezTo>
                    <a:cubicBezTo>
                      <a:pt x="86179" y="258695"/>
                      <a:pt x="96846" y="259838"/>
                      <a:pt x="106086" y="257361"/>
                    </a:cubicBezTo>
                    <a:cubicBezTo>
                      <a:pt x="112182" y="255742"/>
                      <a:pt x="118564" y="254980"/>
                      <a:pt x="124564" y="253075"/>
                    </a:cubicBezTo>
                    <a:cubicBezTo>
                      <a:pt x="129612" y="251456"/>
                      <a:pt x="136185" y="251265"/>
                      <a:pt x="137233" y="243836"/>
                    </a:cubicBezTo>
                    <a:cubicBezTo>
                      <a:pt x="151329" y="249836"/>
                      <a:pt x="155997" y="229167"/>
                      <a:pt x="169332" y="232310"/>
                    </a:cubicBezTo>
                    <a:cubicBezTo>
                      <a:pt x="170379" y="232596"/>
                      <a:pt x="172380" y="228881"/>
                      <a:pt x="173999" y="226976"/>
                    </a:cubicBezTo>
                    <a:cubicBezTo>
                      <a:pt x="176571" y="224024"/>
                      <a:pt x="177428" y="217166"/>
                      <a:pt x="183905" y="222595"/>
                    </a:cubicBezTo>
                    <a:cubicBezTo>
                      <a:pt x="184286" y="222881"/>
                      <a:pt x="186096" y="222309"/>
                      <a:pt x="186191" y="221833"/>
                    </a:cubicBezTo>
                    <a:cubicBezTo>
                      <a:pt x="190477" y="206212"/>
                      <a:pt x="202574" y="194115"/>
                      <a:pt x="204955" y="177351"/>
                    </a:cubicBezTo>
                    <a:cubicBezTo>
                      <a:pt x="208384" y="153253"/>
                      <a:pt x="209908" y="128964"/>
                      <a:pt x="208003" y="105056"/>
                    </a:cubicBezTo>
                    <a:cubicBezTo>
                      <a:pt x="207146" y="93912"/>
                      <a:pt x="207908" y="81720"/>
                      <a:pt x="203241" y="70766"/>
                    </a:cubicBezTo>
                    <a:cubicBezTo>
                      <a:pt x="210289" y="66194"/>
                      <a:pt x="202574" y="57812"/>
                      <a:pt x="207813" y="52669"/>
                    </a:cubicBezTo>
                    <a:cubicBezTo>
                      <a:pt x="211623" y="48859"/>
                      <a:pt x="208098" y="43525"/>
                      <a:pt x="210194" y="39905"/>
                    </a:cubicBezTo>
                    <a:cubicBezTo>
                      <a:pt x="217147" y="27904"/>
                      <a:pt x="217433" y="12854"/>
                      <a:pt x="227720" y="2567"/>
                    </a:cubicBezTo>
                    <a:cubicBezTo>
                      <a:pt x="229816" y="472"/>
                      <a:pt x="231244" y="-1147"/>
                      <a:pt x="236197" y="104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DC47A1DD-DE31-726E-77D8-7520229CAB4D}"/>
                  </a:ext>
                </a:extLst>
              </p:cNvPr>
              <p:cNvSpPr/>
              <p:nvPr/>
            </p:nvSpPr>
            <p:spPr>
              <a:xfrm>
                <a:off x="10732103" y="6210946"/>
                <a:ext cx="382260" cy="413371"/>
              </a:xfrm>
              <a:custGeom>
                <a:avLst/>
                <a:gdLst>
                  <a:gd name="connsiteX0" fmla="*/ 33115 w 382260"/>
                  <a:gd name="connsiteY0" fmla="*/ 204794 h 413370"/>
                  <a:gd name="connsiteX1" fmla="*/ 45879 w 382260"/>
                  <a:gd name="connsiteY1" fmla="*/ 200889 h 413370"/>
                  <a:gd name="connsiteX2" fmla="*/ 56642 w 382260"/>
                  <a:gd name="connsiteY2" fmla="*/ 194602 h 413370"/>
                  <a:gd name="connsiteX3" fmla="*/ 78264 w 382260"/>
                  <a:gd name="connsiteY3" fmla="*/ 180029 h 413370"/>
                  <a:gd name="connsiteX4" fmla="*/ 97409 w 382260"/>
                  <a:gd name="connsiteY4" fmla="*/ 165456 h 413370"/>
                  <a:gd name="connsiteX5" fmla="*/ 124555 w 382260"/>
                  <a:gd name="connsiteY5" fmla="*/ 139929 h 413370"/>
                  <a:gd name="connsiteX6" fmla="*/ 148463 w 382260"/>
                  <a:gd name="connsiteY6" fmla="*/ 111925 h 413370"/>
                  <a:gd name="connsiteX7" fmla="*/ 160179 w 382260"/>
                  <a:gd name="connsiteY7" fmla="*/ 91923 h 413370"/>
                  <a:gd name="connsiteX8" fmla="*/ 162560 w 382260"/>
                  <a:gd name="connsiteY8" fmla="*/ 87541 h 413370"/>
                  <a:gd name="connsiteX9" fmla="*/ 166751 w 382260"/>
                  <a:gd name="connsiteY9" fmla="*/ 77064 h 413370"/>
                  <a:gd name="connsiteX10" fmla="*/ 167513 w 382260"/>
                  <a:gd name="connsiteY10" fmla="*/ 74397 h 413370"/>
                  <a:gd name="connsiteX11" fmla="*/ 173228 w 382260"/>
                  <a:gd name="connsiteY11" fmla="*/ 54299 h 413370"/>
                  <a:gd name="connsiteX12" fmla="*/ 175609 w 382260"/>
                  <a:gd name="connsiteY12" fmla="*/ 28772 h 413370"/>
                  <a:gd name="connsiteX13" fmla="*/ 175609 w 382260"/>
                  <a:gd name="connsiteY13" fmla="*/ 7055 h 413370"/>
                  <a:gd name="connsiteX14" fmla="*/ 176371 w 382260"/>
                  <a:gd name="connsiteY14" fmla="*/ 4864 h 413370"/>
                  <a:gd name="connsiteX15" fmla="*/ 177419 w 382260"/>
                  <a:gd name="connsiteY15" fmla="*/ 2293 h 413370"/>
                  <a:gd name="connsiteX16" fmla="*/ 180086 w 382260"/>
                  <a:gd name="connsiteY16" fmla="*/ 7 h 413370"/>
                  <a:gd name="connsiteX17" fmla="*/ 187325 w 382260"/>
                  <a:gd name="connsiteY17" fmla="*/ 7817 h 413370"/>
                  <a:gd name="connsiteX18" fmla="*/ 188373 w 382260"/>
                  <a:gd name="connsiteY18" fmla="*/ 27629 h 413370"/>
                  <a:gd name="connsiteX19" fmla="*/ 195802 w 382260"/>
                  <a:gd name="connsiteY19" fmla="*/ 56490 h 413370"/>
                  <a:gd name="connsiteX20" fmla="*/ 204089 w 382260"/>
                  <a:gd name="connsiteY20" fmla="*/ 75635 h 413370"/>
                  <a:gd name="connsiteX21" fmla="*/ 208852 w 382260"/>
                  <a:gd name="connsiteY21" fmla="*/ 90494 h 413370"/>
                  <a:gd name="connsiteX22" fmla="*/ 225997 w 382260"/>
                  <a:gd name="connsiteY22" fmla="*/ 117926 h 413370"/>
                  <a:gd name="connsiteX23" fmla="*/ 249428 w 382260"/>
                  <a:gd name="connsiteY23" fmla="*/ 144406 h 413370"/>
                  <a:gd name="connsiteX24" fmla="*/ 263620 w 382260"/>
                  <a:gd name="connsiteY24" fmla="*/ 156312 h 413370"/>
                  <a:gd name="connsiteX25" fmla="*/ 274765 w 382260"/>
                  <a:gd name="connsiteY25" fmla="*/ 164599 h 413370"/>
                  <a:gd name="connsiteX26" fmla="*/ 298196 w 382260"/>
                  <a:gd name="connsiteY26" fmla="*/ 178029 h 413370"/>
                  <a:gd name="connsiteX27" fmla="*/ 319342 w 382260"/>
                  <a:gd name="connsiteY27" fmla="*/ 188506 h 413370"/>
                  <a:gd name="connsiteX28" fmla="*/ 345726 w 382260"/>
                  <a:gd name="connsiteY28" fmla="*/ 199079 h 413370"/>
                  <a:gd name="connsiteX29" fmla="*/ 377635 w 382260"/>
                  <a:gd name="connsiteY29" fmla="*/ 210509 h 413370"/>
                  <a:gd name="connsiteX30" fmla="*/ 381730 w 382260"/>
                  <a:gd name="connsiteY30" fmla="*/ 215843 h 413370"/>
                  <a:gd name="connsiteX31" fmla="*/ 379635 w 382260"/>
                  <a:gd name="connsiteY31" fmla="*/ 220987 h 413370"/>
                  <a:gd name="connsiteX32" fmla="*/ 375730 w 382260"/>
                  <a:gd name="connsiteY32" fmla="*/ 226321 h 413370"/>
                  <a:gd name="connsiteX33" fmla="*/ 370110 w 382260"/>
                  <a:gd name="connsiteY33" fmla="*/ 229273 h 413370"/>
                  <a:gd name="connsiteX34" fmla="*/ 355060 w 382260"/>
                  <a:gd name="connsiteY34" fmla="*/ 232607 h 413370"/>
                  <a:gd name="connsiteX35" fmla="*/ 346964 w 382260"/>
                  <a:gd name="connsiteY35" fmla="*/ 236608 h 413370"/>
                  <a:gd name="connsiteX36" fmla="*/ 322961 w 382260"/>
                  <a:gd name="connsiteY36" fmla="*/ 246990 h 413370"/>
                  <a:gd name="connsiteX37" fmla="*/ 288671 w 382260"/>
                  <a:gd name="connsiteY37" fmla="*/ 265849 h 413370"/>
                  <a:gd name="connsiteX38" fmla="*/ 267907 w 382260"/>
                  <a:gd name="connsiteY38" fmla="*/ 279946 h 413370"/>
                  <a:gd name="connsiteX39" fmla="*/ 237998 w 382260"/>
                  <a:gd name="connsiteY39" fmla="*/ 307855 h 413370"/>
                  <a:gd name="connsiteX40" fmla="*/ 225330 w 382260"/>
                  <a:gd name="connsiteY40" fmla="*/ 322714 h 413370"/>
                  <a:gd name="connsiteX41" fmla="*/ 200660 w 382260"/>
                  <a:gd name="connsiteY41" fmla="*/ 364814 h 413370"/>
                  <a:gd name="connsiteX42" fmla="*/ 187135 w 382260"/>
                  <a:gd name="connsiteY42" fmla="*/ 398628 h 413370"/>
                  <a:gd name="connsiteX43" fmla="*/ 186277 w 382260"/>
                  <a:gd name="connsiteY43" fmla="*/ 402724 h 413370"/>
                  <a:gd name="connsiteX44" fmla="*/ 181896 w 382260"/>
                  <a:gd name="connsiteY44" fmla="*/ 412725 h 413370"/>
                  <a:gd name="connsiteX45" fmla="*/ 179896 w 382260"/>
                  <a:gd name="connsiteY45" fmla="*/ 413011 h 413370"/>
                  <a:gd name="connsiteX46" fmla="*/ 176086 w 382260"/>
                  <a:gd name="connsiteY46" fmla="*/ 412439 h 413370"/>
                  <a:gd name="connsiteX47" fmla="*/ 175038 w 382260"/>
                  <a:gd name="connsiteY47" fmla="*/ 411391 h 413370"/>
                  <a:gd name="connsiteX48" fmla="*/ 175038 w 382260"/>
                  <a:gd name="connsiteY48" fmla="*/ 403771 h 413370"/>
                  <a:gd name="connsiteX49" fmla="*/ 173800 w 382260"/>
                  <a:gd name="connsiteY49" fmla="*/ 383769 h 413370"/>
                  <a:gd name="connsiteX50" fmla="*/ 170275 w 382260"/>
                  <a:gd name="connsiteY50" fmla="*/ 371386 h 413370"/>
                  <a:gd name="connsiteX51" fmla="*/ 165703 w 382260"/>
                  <a:gd name="connsiteY51" fmla="*/ 352527 h 413370"/>
                  <a:gd name="connsiteX52" fmla="*/ 152749 w 382260"/>
                  <a:gd name="connsiteY52" fmla="*/ 321285 h 413370"/>
                  <a:gd name="connsiteX53" fmla="*/ 122269 w 382260"/>
                  <a:gd name="connsiteY53" fmla="*/ 274041 h 413370"/>
                  <a:gd name="connsiteX54" fmla="*/ 97219 w 382260"/>
                  <a:gd name="connsiteY54" fmla="*/ 253276 h 413370"/>
                  <a:gd name="connsiteX55" fmla="*/ 85027 w 382260"/>
                  <a:gd name="connsiteY55" fmla="*/ 247276 h 413370"/>
                  <a:gd name="connsiteX56" fmla="*/ 76359 w 382260"/>
                  <a:gd name="connsiteY56" fmla="*/ 242418 h 413370"/>
                  <a:gd name="connsiteX57" fmla="*/ 74930 w 382260"/>
                  <a:gd name="connsiteY57" fmla="*/ 242418 h 413370"/>
                  <a:gd name="connsiteX58" fmla="*/ 71977 w 382260"/>
                  <a:gd name="connsiteY58" fmla="*/ 242799 h 413370"/>
                  <a:gd name="connsiteX59" fmla="*/ 63119 w 382260"/>
                  <a:gd name="connsiteY59" fmla="*/ 240322 h 413370"/>
                  <a:gd name="connsiteX60" fmla="*/ 61119 w 382260"/>
                  <a:gd name="connsiteY60" fmla="*/ 237465 h 413370"/>
                  <a:gd name="connsiteX61" fmla="*/ 58071 w 382260"/>
                  <a:gd name="connsiteY61" fmla="*/ 234512 h 413370"/>
                  <a:gd name="connsiteX62" fmla="*/ 42164 w 382260"/>
                  <a:gd name="connsiteY62" fmla="*/ 232417 h 413370"/>
                  <a:gd name="connsiteX63" fmla="*/ 38640 w 382260"/>
                  <a:gd name="connsiteY63" fmla="*/ 230607 h 413370"/>
                  <a:gd name="connsiteX64" fmla="*/ 34544 w 382260"/>
                  <a:gd name="connsiteY64" fmla="*/ 229940 h 413370"/>
                  <a:gd name="connsiteX65" fmla="*/ 30448 w 382260"/>
                  <a:gd name="connsiteY65" fmla="*/ 230321 h 413370"/>
                  <a:gd name="connsiteX66" fmla="*/ 27305 w 382260"/>
                  <a:gd name="connsiteY66" fmla="*/ 231274 h 413370"/>
                  <a:gd name="connsiteX67" fmla="*/ 25114 w 382260"/>
                  <a:gd name="connsiteY67" fmla="*/ 232321 h 413370"/>
                  <a:gd name="connsiteX68" fmla="*/ 17685 w 382260"/>
                  <a:gd name="connsiteY68" fmla="*/ 231845 h 413370"/>
                  <a:gd name="connsiteX69" fmla="*/ 13494 w 382260"/>
                  <a:gd name="connsiteY69" fmla="*/ 229750 h 413370"/>
                  <a:gd name="connsiteX70" fmla="*/ 9874 w 382260"/>
                  <a:gd name="connsiteY70" fmla="*/ 230607 h 413370"/>
                  <a:gd name="connsiteX71" fmla="*/ 6541 w 382260"/>
                  <a:gd name="connsiteY71" fmla="*/ 228130 h 413370"/>
                  <a:gd name="connsiteX72" fmla="*/ 2826 w 382260"/>
                  <a:gd name="connsiteY72" fmla="*/ 226416 h 413370"/>
                  <a:gd name="connsiteX73" fmla="*/ 64 w 382260"/>
                  <a:gd name="connsiteY73" fmla="*/ 224320 h 413370"/>
                  <a:gd name="connsiteX74" fmla="*/ 1778 w 382260"/>
                  <a:gd name="connsiteY74" fmla="*/ 222034 h 413370"/>
                  <a:gd name="connsiteX75" fmla="*/ 7017 w 382260"/>
                  <a:gd name="connsiteY75" fmla="*/ 211938 h 413370"/>
                  <a:gd name="connsiteX76" fmla="*/ 10732 w 382260"/>
                  <a:gd name="connsiteY76" fmla="*/ 209366 h 413370"/>
                  <a:gd name="connsiteX77" fmla="*/ 28448 w 382260"/>
                  <a:gd name="connsiteY77" fmla="*/ 206699 h 413370"/>
                  <a:gd name="connsiteX78" fmla="*/ 32544 w 382260"/>
                  <a:gd name="connsiteY78" fmla="*/ 205175 h 413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382260" h="413370">
                    <a:moveTo>
                      <a:pt x="33115" y="204794"/>
                    </a:moveTo>
                    <a:cubicBezTo>
                      <a:pt x="36830" y="201937"/>
                      <a:pt x="41593" y="202032"/>
                      <a:pt x="45879" y="200889"/>
                    </a:cubicBezTo>
                    <a:cubicBezTo>
                      <a:pt x="50260" y="199651"/>
                      <a:pt x="52927" y="196507"/>
                      <a:pt x="56642" y="194602"/>
                    </a:cubicBezTo>
                    <a:cubicBezTo>
                      <a:pt x="64357" y="190697"/>
                      <a:pt x="71215" y="185173"/>
                      <a:pt x="78264" y="180029"/>
                    </a:cubicBezTo>
                    <a:cubicBezTo>
                      <a:pt x="84741" y="175362"/>
                      <a:pt x="91980" y="171171"/>
                      <a:pt x="97409" y="165456"/>
                    </a:cubicBezTo>
                    <a:cubicBezTo>
                      <a:pt x="105982" y="156407"/>
                      <a:pt x="115888" y="148882"/>
                      <a:pt x="124555" y="139929"/>
                    </a:cubicBezTo>
                    <a:cubicBezTo>
                      <a:pt x="133128" y="131071"/>
                      <a:pt x="141129" y="121736"/>
                      <a:pt x="148463" y="111925"/>
                    </a:cubicBezTo>
                    <a:cubicBezTo>
                      <a:pt x="153035" y="105829"/>
                      <a:pt x="157798" y="99448"/>
                      <a:pt x="160179" y="91923"/>
                    </a:cubicBezTo>
                    <a:cubicBezTo>
                      <a:pt x="160655" y="90399"/>
                      <a:pt x="161322" y="88494"/>
                      <a:pt x="162560" y="87541"/>
                    </a:cubicBezTo>
                    <a:cubicBezTo>
                      <a:pt x="166180" y="84779"/>
                      <a:pt x="166275" y="80874"/>
                      <a:pt x="166751" y="77064"/>
                    </a:cubicBezTo>
                    <a:cubicBezTo>
                      <a:pt x="166846" y="76111"/>
                      <a:pt x="166846" y="75254"/>
                      <a:pt x="167513" y="74397"/>
                    </a:cubicBezTo>
                    <a:cubicBezTo>
                      <a:pt x="172371" y="68491"/>
                      <a:pt x="171704" y="61157"/>
                      <a:pt x="173228" y="54299"/>
                    </a:cubicBezTo>
                    <a:cubicBezTo>
                      <a:pt x="175228" y="45727"/>
                      <a:pt x="174752" y="37249"/>
                      <a:pt x="175609" y="28772"/>
                    </a:cubicBezTo>
                    <a:cubicBezTo>
                      <a:pt x="176276" y="21628"/>
                      <a:pt x="177991" y="14294"/>
                      <a:pt x="175609" y="7055"/>
                    </a:cubicBezTo>
                    <a:cubicBezTo>
                      <a:pt x="175228" y="5912"/>
                      <a:pt x="175324" y="4960"/>
                      <a:pt x="176371" y="4864"/>
                    </a:cubicBezTo>
                    <a:cubicBezTo>
                      <a:pt x="178943" y="4674"/>
                      <a:pt x="178276" y="4102"/>
                      <a:pt x="177419" y="2293"/>
                    </a:cubicBezTo>
                    <a:cubicBezTo>
                      <a:pt x="176752" y="769"/>
                      <a:pt x="178467" y="102"/>
                      <a:pt x="180086" y="7"/>
                    </a:cubicBezTo>
                    <a:cubicBezTo>
                      <a:pt x="184372" y="-184"/>
                      <a:pt x="188468" y="3721"/>
                      <a:pt x="187325" y="7817"/>
                    </a:cubicBezTo>
                    <a:cubicBezTo>
                      <a:pt x="185325" y="14675"/>
                      <a:pt x="187611" y="21152"/>
                      <a:pt x="188373" y="27629"/>
                    </a:cubicBezTo>
                    <a:cubicBezTo>
                      <a:pt x="189516" y="37535"/>
                      <a:pt x="192850" y="47060"/>
                      <a:pt x="195802" y="56490"/>
                    </a:cubicBezTo>
                    <a:cubicBezTo>
                      <a:pt x="197898" y="63062"/>
                      <a:pt x="200279" y="69539"/>
                      <a:pt x="204089" y="75635"/>
                    </a:cubicBezTo>
                    <a:cubicBezTo>
                      <a:pt x="206566" y="79636"/>
                      <a:pt x="206470" y="85732"/>
                      <a:pt x="208852" y="90494"/>
                    </a:cubicBezTo>
                    <a:cubicBezTo>
                      <a:pt x="213900" y="100114"/>
                      <a:pt x="219710" y="109163"/>
                      <a:pt x="225997" y="117926"/>
                    </a:cubicBezTo>
                    <a:cubicBezTo>
                      <a:pt x="232855" y="127546"/>
                      <a:pt x="241618" y="135547"/>
                      <a:pt x="249428" y="144406"/>
                    </a:cubicBezTo>
                    <a:cubicBezTo>
                      <a:pt x="253524" y="148978"/>
                      <a:pt x="258382" y="153169"/>
                      <a:pt x="263620" y="156312"/>
                    </a:cubicBezTo>
                    <a:cubicBezTo>
                      <a:pt x="267621" y="158788"/>
                      <a:pt x="271336" y="161646"/>
                      <a:pt x="274765" y="164599"/>
                    </a:cubicBezTo>
                    <a:cubicBezTo>
                      <a:pt x="281718" y="170695"/>
                      <a:pt x="290386" y="173647"/>
                      <a:pt x="298196" y="178029"/>
                    </a:cubicBezTo>
                    <a:cubicBezTo>
                      <a:pt x="305054" y="181839"/>
                      <a:pt x="311817" y="185935"/>
                      <a:pt x="319342" y="188506"/>
                    </a:cubicBezTo>
                    <a:cubicBezTo>
                      <a:pt x="328390" y="191459"/>
                      <a:pt x="336963" y="195650"/>
                      <a:pt x="345726" y="199079"/>
                    </a:cubicBezTo>
                    <a:cubicBezTo>
                      <a:pt x="356203" y="203175"/>
                      <a:pt x="367252" y="205842"/>
                      <a:pt x="377635" y="210509"/>
                    </a:cubicBezTo>
                    <a:cubicBezTo>
                      <a:pt x="380206" y="211652"/>
                      <a:pt x="380302" y="214129"/>
                      <a:pt x="381730" y="215843"/>
                    </a:cubicBezTo>
                    <a:cubicBezTo>
                      <a:pt x="383254" y="217558"/>
                      <a:pt x="381159" y="219177"/>
                      <a:pt x="379635" y="220987"/>
                    </a:cubicBezTo>
                    <a:cubicBezTo>
                      <a:pt x="378397" y="222511"/>
                      <a:pt x="376968" y="224511"/>
                      <a:pt x="375730" y="226321"/>
                    </a:cubicBezTo>
                    <a:cubicBezTo>
                      <a:pt x="374396" y="228321"/>
                      <a:pt x="372205" y="229083"/>
                      <a:pt x="370110" y="229273"/>
                    </a:cubicBezTo>
                    <a:cubicBezTo>
                      <a:pt x="364966" y="229845"/>
                      <a:pt x="360204" y="231845"/>
                      <a:pt x="355060" y="232607"/>
                    </a:cubicBezTo>
                    <a:cubicBezTo>
                      <a:pt x="352298" y="232988"/>
                      <a:pt x="349726" y="235274"/>
                      <a:pt x="346964" y="236608"/>
                    </a:cubicBezTo>
                    <a:cubicBezTo>
                      <a:pt x="339154" y="240418"/>
                      <a:pt x="330676" y="242894"/>
                      <a:pt x="322961" y="246990"/>
                    </a:cubicBezTo>
                    <a:cubicBezTo>
                      <a:pt x="311436" y="253086"/>
                      <a:pt x="299625" y="258610"/>
                      <a:pt x="288671" y="265849"/>
                    </a:cubicBezTo>
                    <a:cubicBezTo>
                      <a:pt x="281718" y="270517"/>
                      <a:pt x="274479" y="274803"/>
                      <a:pt x="267907" y="279946"/>
                    </a:cubicBezTo>
                    <a:cubicBezTo>
                      <a:pt x="257143" y="288328"/>
                      <a:pt x="245904" y="296234"/>
                      <a:pt x="237998" y="307855"/>
                    </a:cubicBezTo>
                    <a:cubicBezTo>
                      <a:pt x="234379" y="313189"/>
                      <a:pt x="229045" y="317284"/>
                      <a:pt x="225330" y="322714"/>
                    </a:cubicBezTo>
                    <a:cubicBezTo>
                      <a:pt x="215995" y="336144"/>
                      <a:pt x="207423" y="349765"/>
                      <a:pt x="200660" y="364814"/>
                    </a:cubicBezTo>
                    <a:cubicBezTo>
                      <a:pt x="195707" y="375958"/>
                      <a:pt x="191897" y="387484"/>
                      <a:pt x="187135" y="398628"/>
                    </a:cubicBezTo>
                    <a:cubicBezTo>
                      <a:pt x="186563" y="399866"/>
                      <a:pt x="186182" y="401390"/>
                      <a:pt x="186277" y="402724"/>
                    </a:cubicBezTo>
                    <a:cubicBezTo>
                      <a:pt x="186658" y="406915"/>
                      <a:pt x="183515" y="409486"/>
                      <a:pt x="181896" y="412725"/>
                    </a:cubicBezTo>
                    <a:cubicBezTo>
                      <a:pt x="181515" y="413582"/>
                      <a:pt x="180562" y="413487"/>
                      <a:pt x="179896" y="413011"/>
                    </a:cubicBezTo>
                    <a:cubicBezTo>
                      <a:pt x="178753" y="412058"/>
                      <a:pt x="177895" y="410629"/>
                      <a:pt x="176086" y="412439"/>
                    </a:cubicBezTo>
                    <a:cubicBezTo>
                      <a:pt x="175038" y="413582"/>
                      <a:pt x="175133" y="411868"/>
                      <a:pt x="175038" y="411391"/>
                    </a:cubicBezTo>
                    <a:cubicBezTo>
                      <a:pt x="174371" y="408820"/>
                      <a:pt x="174847" y="406438"/>
                      <a:pt x="175038" y="403771"/>
                    </a:cubicBezTo>
                    <a:cubicBezTo>
                      <a:pt x="175705" y="397199"/>
                      <a:pt x="180181" y="390436"/>
                      <a:pt x="173800" y="383769"/>
                    </a:cubicBezTo>
                    <a:cubicBezTo>
                      <a:pt x="171133" y="381007"/>
                      <a:pt x="171514" y="375577"/>
                      <a:pt x="170275" y="371386"/>
                    </a:cubicBezTo>
                    <a:cubicBezTo>
                      <a:pt x="168370" y="365195"/>
                      <a:pt x="168085" y="358718"/>
                      <a:pt x="165703" y="352527"/>
                    </a:cubicBezTo>
                    <a:cubicBezTo>
                      <a:pt x="161608" y="341954"/>
                      <a:pt x="156940" y="331762"/>
                      <a:pt x="152749" y="321285"/>
                    </a:cubicBezTo>
                    <a:cubicBezTo>
                      <a:pt x="145606" y="303473"/>
                      <a:pt x="134842" y="288138"/>
                      <a:pt x="122269" y="274041"/>
                    </a:cubicBezTo>
                    <a:cubicBezTo>
                      <a:pt x="115126" y="265945"/>
                      <a:pt x="107029" y="258610"/>
                      <a:pt x="97219" y="253276"/>
                    </a:cubicBezTo>
                    <a:cubicBezTo>
                      <a:pt x="93218" y="251086"/>
                      <a:pt x="89313" y="248609"/>
                      <a:pt x="85027" y="247276"/>
                    </a:cubicBezTo>
                    <a:cubicBezTo>
                      <a:pt x="81693" y="246228"/>
                      <a:pt x="78454" y="245466"/>
                      <a:pt x="76359" y="242418"/>
                    </a:cubicBezTo>
                    <a:cubicBezTo>
                      <a:pt x="75978" y="241846"/>
                      <a:pt x="75406" y="240703"/>
                      <a:pt x="74930" y="242418"/>
                    </a:cubicBezTo>
                    <a:cubicBezTo>
                      <a:pt x="74168" y="244799"/>
                      <a:pt x="72835" y="243085"/>
                      <a:pt x="71977" y="242799"/>
                    </a:cubicBezTo>
                    <a:cubicBezTo>
                      <a:pt x="69120" y="241561"/>
                      <a:pt x="66358" y="240418"/>
                      <a:pt x="63119" y="240322"/>
                    </a:cubicBezTo>
                    <a:cubicBezTo>
                      <a:pt x="61595" y="240322"/>
                      <a:pt x="61786" y="238513"/>
                      <a:pt x="61119" y="237465"/>
                    </a:cubicBezTo>
                    <a:cubicBezTo>
                      <a:pt x="60357" y="236227"/>
                      <a:pt x="59881" y="234131"/>
                      <a:pt x="58071" y="234512"/>
                    </a:cubicBezTo>
                    <a:cubicBezTo>
                      <a:pt x="52451" y="235655"/>
                      <a:pt x="47498" y="233083"/>
                      <a:pt x="42164" y="232417"/>
                    </a:cubicBezTo>
                    <a:cubicBezTo>
                      <a:pt x="40640" y="232226"/>
                      <a:pt x="39402" y="232798"/>
                      <a:pt x="38640" y="230607"/>
                    </a:cubicBezTo>
                    <a:cubicBezTo>
                      <a:pt x="38259" y="229559"/>
                      <a:pt x="35687" y="228797"/>
                      <a:pt x="34544" y="229940"/>
                    </a:cubicBezTo>
                    <a:cubicBezTo>
                      <a:pt x="33020" y="231369"/>
                      <a:pt x="31687" y="231178"/>
                      <a:pt x="30448" y="230321"/>
                    </a:cubicBezTo>
                    <a:cubicBezTo>
                      <a:pt x="28734" y="229178"/>
                      <a:pt x="27877" y="228988"/>
                      <a:pt x="27305" y="231274"/>
                    </a:cubicBezTo>
                    <a:cubicBezTo>
                      <a:pt x="27115" y="232131"/>
                      <a:pt x="25591" y="233083"/>
                      <a:pt x="25114" y="232321"/>
                    </a:cubicBezTo>
                    <a:cubicBezTo>
                      <a:pt x="22733" y="229178"/>
                      <a:pt x="20352" y="230607"/>
                      <a:pt x="17685" y="231845"/>
                    </a:cubicBezTo>
                    <a:cubicBezTo>
                      <a:pt x="15589" y="232798"/>
                      <a:pt x="14065" y="232131"/>
                      <a:pt x="13494" y="229750"/>
                    </a:cubicBezTo>
                    <a:cubicBezTo>
                      <a:pt x="12065" y="228988"/>
                      <a:pt x="11208" y="230607"/>
                      <a:pt x="9874" y="230607"/>
                    </a:cubicBezTo>
                    <a:cubicBezTo>
                      <a:pt x="8922" y="229654"/>
                      <a:pt x="5398" y="232607"/>
                      <a:pt x="6541" y="228130"/>
                    </a:cubicBezTo>
                    <a:cubicBezTo>
                      <a:pt x="7017" y="226225"/>
                      <a:pt x="4064" y="227273"/>
                      <a:pt x="2826" y="226416"/>
                    </a:cubicBezTo>
                    <a:cubicBezTo>
                      <a:pt x="1873" y="225749"/>
                      <a:pt x="445" y="225940"/>
                      <a:pt x="64" y="224320"/>
                    </a:cubicBezTo>
                    <a:cubicBezTo>
                      <a:pt x="-317" y="222701"/>
                      <a:pt x="1111" y="222415"/>
                      <a:pt x="1778" y="222034"/>
                    </a:cubicBezTo>
                    <a:cubicBezTo>
                      <a:pt x="5874" y="219939"/>
                      <a:pt x="6160" y="215367"/>
                      <a:pt x="7017" y="211938"/>
                    </a:cubicBezTo>
                    <a:cubicBezTo>
                      <a:pt x="7874" y="208890"/>
                      <a:pt x="9779" y="209080"/>
                      <a:pt x="10732" y="209366"/>
                    </a:cubicBezTo>
                    <a:cubicBezTo>
                      <a:pt x="17018" y="210795"/>
                      <a:pt x="22733" y="209080"/>
                      <a:pt x="28448" y="206699"/>
                    </a:cubicBezTo>
                    <a:cubicBezTo>
                      <a:pt x="29782" y="206032"/>
                      <a:pt x="32068" y="208033"/>
                      <a:pt x="32544" y="205175"/>
                    </a:cubicBezTo>
                  </a:path>
                </a:pathLst>
              </a:custGeom>
              <a:solidFill>
                <a:srgbClr val="4FE2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E06B10EC-42BB-E956-5950-E424545F2F3C}"/>
              </a:ext>
            </a:extLst>
          </p:cNvPr>
          <p:cNvSpPr>
            <a:spLocks/>
          </p:cNvSpPr>
          <p:nvPr/>
        </p:nvSpPr>
        <p:spPr>
          <a:xfrm>
            <a:off x="596899" y="2855349"/>
            <a:ext cx="5361941" cy="2739205"/>
          </a:xfrm>
          <a:prstGeom prst="roundRect">
            <a:avLst>
              <a:gd name="adj" fmla="val 4422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AA48BF2C-1BB1-46C6-6806-E37EEA17BD6F}"/>
              </a:ext>
            </a:extLst>
          </p:cNvPr>
          <p:cNvSpPr>
            <a:spLocks/>
          </p:cNvSpPr>
          <p:nvPr/>
        </p:nvSpPr>
        <p:spPr>
          <a:xfrm>
            <a:off x="6233160" y="2855349"/>
            <a:ext cx="5361940" cy="2739205"/>
          </a:xfrm>
          <a:prstGeom prst="roundRect">
            <a:avLst>
              <a:gd name="adj" fmla="val 4422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18302A7-D1BC-6810-9CED-9E2E6D291EAB}"/>
              </a:ext>
            </a:extLst>
          </p:cNvPr>
          <p:cNvGrpSpPr>
            <a:grpSpLocks/>
          </p:cNvGrpSpPr>
          <p:nvPr/>
        </p:nvGrpSpPr>
        <p:grpSpPr>
          <a:xfrm>
            <a:off x="7937858" y="1881014"/>
            <a:ext cx="1952544" cy="1952542"/>
            <a:chOff x="7883317" y="2059427"/>
            <a:chExt cx="1519518" cy="1519516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990CD553-32A1-8BE4-D0C6-12637395D69D}"/>
                </a:ext>
              </a:extLst>
            </p:cNvPr>
            <p:cNvSpPr/>
            <p:nvPr/>
          </p:nvSpPr>
          <p:spPr>
            <a:xfrm>
              <a:off x="7883317" y="2059427"/>
              <a:ext cx="1519518" cy="1519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b="1">
                <a:solidFill>
                  <a:schemeClr val="accent5"/>
                </a:solidFill>
              </a:endParaRPr>
            </a:p>
          </p:txBody>
        </p:sp>
        <p:pic>
          <p:nvPicPr>
            <p:cNvPr id="85" name="Picture 84" descr="A person leaning against a wall&#10;&#10;Description automatically generated">
              <a:extLst>
                <a:ext uri="{FF2B5EF4-FFF2-40B4-BE49-F238E27FC236}">
                  <a16:creationId xmlns:a16="http://schemas.microsoft.com/office/drawing/2014/main" id="{FFBB1D71-2965-1E84-4E62-0B0D3F701007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7374" t="4006" r="22142" b="50179"/>
            <a:stretch/>
          </p:blipFill>
          <p:spPr>
            <a:xfrm>
              <a:off x="7975564" y="2151673"/>
              <a:ext cx="1335024" cy="1335024"/>
            </a:xfrm>
            <a:prstGeom prst="ellipse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D4157041-1E2A-BB40-F1AF-1D8D62DB6BA9}"/>
              </a:ext>
            </a:extLst>
          </p:cNvPr>
          <p:cNvGrpSpPr>
            <a:grpSpLocks/>
          </p:cNvGrpSpPr>
          <p:nvPr/>
        </p:nvGrpSpPr>
        <p:grpSpPr>
          <a:xfrm>
            <a:off x="2301597" y="1881014"/>
            <a:ext cx="1952544" cy="1952542"/>
            <a:chOff x="2497296" y="2059427"/>
            <a:chExt cx="1519518" cy="1519516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E4B7283-D764-0A50-B5C8-BA330A9806C2}"/>
                </a:ext>
              </a:extLst>
            </p:cNvPr>
            <p:cNvSpPr/>
            <p:nvPr/>
          </p:nvSpPr>
          <p:spPr>
            <a:xfrm>
              <a:off x="2497296" y="2059427"/>
              <a:ext cx="1519518" cy="1519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b="1">
                <a:solidFill>
                  <a:schemeClr val="accent5"/>
                </a:solidFill>
              </a:endParaRPr>
            </a:p>
          </p:txBody>
        </p:sp>
        <p:pic>
          <p:nvPicPr>
            <p:cNvPr id="86" name="Picture 85" descr="A person smiling at camera&#10;&#10;Description automatically generated">
              <a:extLst>
                <a:ext uri="{FF2B5EF4-FFF2-40B4-BE49-F238E27FC236}">
                  <a16:creationId xmlns:a16="http://schemas.microsoft.com/office/drawing/2014/main" id="{9933D5AF-41BA-201E-B536-CB14B219752E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37" t="1133" r="5555" b="4936"/>
            <a:stretch/>
          </p:blipFill>
          <p:spPr>
            <a:xfrm>
              <a:off x="2589543" y="2151673"/>
              <a:ext cx="1335024" cy="1335024"/>
            </a:xfrm>
            <a:prstGeom prst="ellipse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61E9FDC-DA4F-4D81-9DAB-D91ED145598F}"/>
              </a:ext>
            </a:extLst>
          </p:cNvPr>
          <p:cNvSpPr txBox="1"/>
          <p:nvPr/>
        </p:nvSpPr>
        <p:spPr>
          <a:xfrm>
            <a:off x="783588" y="3999295"/>
            <a:ext cx="4988562" cy="110030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j-ea"/>
                <a:cs typeface="+mj-cs"/>
              </a:rPr>
              <a:t>Shanna Parra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Director Commercial Sustainability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Email: </a:t>
            </a: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j-ea"/>
                <a:cs typeface="+mj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nna.parra@pepsico.com</a:t>
            </a:r>
            <a:endParaRPr kumimoji="0" lang="en-US" sz="1800" b="1" i="0" u="none" strike="noStrike" kern="1200" cap="none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139B90-3FE8-170E-6F0E-E837766F723D}"/>
              </a:ext>
            </a:extLst>
          </p:cNvPr>
          <p:cNvSpPr txBox="1"/>
          <p:nvPr/>
        </p:nvSpPr>
        <p:spPr>
          <a:xfrm>
            <a:off x="6419849" y="3999295"/>
            <a:ext cx="4988562" cy="110030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en-US" sz="2800" b="1">
                <a:solidFill>
                  <a:schemeClr val="accent4"/>
                </a:solidFill>
                <a:effectLst/>
                <a:ea typeface="+mj-ea"/>
                <a:cs typeface="+mj-cs"/>
              </a:rPr>
              <a:t>Catherine Walton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ea typeface="+mj-ea"/>
                <a:cs typeface="+mj-cs"/>
              </a:rPr>
              <a:t>Senior Manager Commercial Sustainability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ea typeface="+mj-ea"/>
                <a:cs typeface="+mj-cs"/>
              </a:rPr>
              <a:t>Email: </a:t>
            </a: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chemeClr val="accent6"/>
                </a:solidFill>
                <a:uLnTx/>
                <a:uFillTx/>
                <a:ea typeface="+mj-ea"/>
                <a:cs typeface="+mj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endParaRPr kumimoji="0" lang="en-US" b="1" i="0" u="none" strike="noStrike" kern="1200" cap="none" normalizeH="0" baseline="0" noProof="0">
              <a:ln>
                <a:noFill/>
              </a:ln>
              <a:solidFill>
                <a:schemeClr val="accent6"/>
              </a:solidFill>
              <a:uLnTx/>
              <a:uFillTx/>
              <a:ea typeface="+mj-ea"/>
              <a:cs typeface="+mj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6F432F-5D2F-CF10-7748-659091639F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 flipV="1">
            <a:off x="0" y="0"/>
            <a:ext cx="2261365" cy="144942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C0B6B4A-E5D8-5450-CA20-DC6D253FBD4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37D71BA-BD7C-85E7-696C-BDC23FB46B57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j-lt"/>
                <a:ea typeface="+mj-ea"/>
                <a:cs typeface="+mj-cs"/>
              </a:rPr>
              <a:pPr algn="r"/>
              <a:t>5</a:t>
            </a:fld>
            <a:endParaRPr lang="en-US" sz="700" spc="300">
              <a:solidFill>
                <a:schemeClr val="accent5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55092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+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C041"/>
      </a:accent1>
      <a:accent2>
        <a:srgbClr val="00A651"/>
      </a:accent2>
      <a:accent3>
        <a:srgbClr val="8EDB43"/>
      </a:accent3>
      <a:accent4>
        <a:srgbClr val="FFC62C"/>
      </a:accent4>
      <a:accent5>
        <a:srgbClr val="0065E5"/>
      </a:accent5>
      <a:accent6>
        <a:srgbClr val="4FE2F3"/>
      </a:accent6>
      <a:hlink>
        <a:srgbClr val="797979"/>
      </a:hlink>
      <a:folHlink>
        <a:srgbClr val="A9A9A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odaStream Professional Template">
  <a:themeElements>
    <a:clrScheme name="SodaStream Professional template">
      <a:dk1>
        <a:sysClr val="windowText" lastClr="000000"/>
      </a:dk1>
      <a:lt1>
        <a:sysClr val="window" lastClr="FFFFFF"/>
      </a:lt1>
      <a:dk2>
        <a:srgbClr val="818285"/>
      </a:dk2>
      <a:lt2>
        <a:srgbClr val="E7E6E6"/>
      </a:lt2>
      <a:accent1>
        <a:srgbClr val="BDBEC0"/>
      </a:accent1>
      <a:accent2>
        <a:srgbClr val="00AEEF"/>
      </a:accent2>
      <a:accent3>
        <a:srgbClr val="FBF1AB"/>
      </a:accent3>
      <a:accent4>
        <a:srgbClr val="D3E090"/>
      </a:accent4>
      <a:accent5>
        <a:srgbClr val="FAA47B"/>
      </a:accent5>
      <a:accent6>
        <a:srgbClr val="EA4B59"/>
      </a:accent6>
      <a:hlink>
        <a:srgbClr val="E7E6E6"/>
      </a:hlink>
      <a:folHlink>
        <a:srgbClr val="92D050"/>
      </a:folHlink>
    </a:clrScheme>
    <a:fontScheme name="SodaStream professional template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epsiCo Positive Template ">
  <a:themeElements>
    <a:clrScheme name="pep+ Color Palet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65E5"/>
      </a:accent1>
      <a:accent2>
        <a:srgbClr val="143DCF"/>
      </a:accent2>
      <a:accent3>
        <a:srgbClr val="4FE2F3"/>
      </a:accent3>
      <a:accent4>
        <a:srgbClr val="00A651"/>
      </a:accent4>
      <a:accent5>
        <a:srgbClr val="8EDB43"/>
      </a:accent5>
      <a:accent6>
        <a:srgbClr val="FFC72C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Custom 2">
      <a:dk1>
        <a:srgbClr val="000000"/>
      </a:dk1>
      <a:lt1>
        <a:srgbClr val="FFFFFF"/>
      </a:lt1>
      <a:dk2>
        <a:srgbClr val="004C97"/>
      </a:dk2>
      <a:lt2>
        <a:srgbClr val="EFEFEF"/>
      </a:lt2>
      <a:accent1>
        <a:srgbClr val="01A7DF"/>
      </a:accent1>
      <a:accent2>
        <a:srgbClr val="4FE1F2"/>
      </a:accent2>
      <a:accent3>
        <a:srgbClr val="8BD843"/>
      </a:accent3>
      <a:accent4>
        <a:srgbClr val="00AB42"/>
      </a:accent4>
      <a:accent5>
        <a:srgbClr val="00A351"/>
      </a:accent5>
      <a:accent6>
        <a:srgbClr val="FFC107"/>
      </a:accent6>
      <a:hlink>
        <a:srgbClr val="004C97"/>
      </a:hlink>
      <a:folHlink>
        <a:srgbClr val="954F72"/>
      </a:folHlink>
    </a:clrScheme>
    <a:fontScheme name="Pep ESG 22">
      <a:majorFont>
        <a:latin typeface="Fibra One"/>
        <a:ea typeface=""/>
        <a:cs typeface=""/>
      </a:majorFont>
      <a:minorFont>
        <a:latin typeface="Fibra O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857c35d-03fd-423e-b114-9dc0e2c72e52">
      <UserInfo>
        <DisplayName>Jani, Victoria {PEP}</DisplayName>
        <AccountId>28</AccountId>
        <AccountType/>
      </UserInfo>
      <UserInfo>
        <DisplayName>Walton, Catherine {PEP}</DisplayName>
        <AccountId>9</AccountId>
        <AccountType/>
      </UserInfo>
      <UserInfo>
        <DisplayName>Melnicoff, Matt {PEP}</DisplayName>
        <AccountId>14</AccountId>
        <AccountType/>
      </UserInfo>
      <UserInfo>
        <DisplayName>Wise, Paige {PEP}</DisplayName>
        <AccountId>187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39D8254A486D47BDA1D12EE80FBE24" ma:contentTypeVersion="7" ma:contentTypeDescription="Create a new document." ma:contentTypeScope="" ma:versionID="c6b3173c810d59a80c918d32f6eea627">
  <xsd:schema xmlns:xsd="http://www.w3.org/2001/XMLSchema" xmlns:xs="http://www.w3.org/2001/XMLSchema" xmlns:p="http://schemas.microsoft.com/office/2006/metadata/properties" xmlns:ns2="7f5b135c-cfae-40d3-8ca1-70614c99b4b6" xmlns:ns3="e857c35d-03fd-423e-b114-9dc0e2c72e52" targetNamespace="http://schemas.microsoft.com/office/2006/metadata/properties" ma:root="true" ma:fieldsID="c2a5ef088a08c453a59e1e6789b9adb3" ns2:_="" ns3:_="">
    <xsd:import namespace="7f5b135c-cfae-40d3-8ca1-70614c99b4b6"/>
    <xsd:import namespace="e857c35d-03fd-423e-b114-9dc0e2c72e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5b135c-cfae-40d3-8ca1-70614c99b4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1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7c35d-03fd-423e-b114-9dc0e2c72e5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E741FD-624B-477A-9BF6-82CBDA985F57}">
  <ds:schemaRefs>
    <ds:schemaRef ds:uri="http://purl.org/dc/elements/1.1/"/>
    <ds:schemaRef ds:uri="http://schemas.microsoft.com/office/2006/metadata/properties"/>
    <ds:schemaRef ds:uri="http://purl.org/dc/terms/"/>
    <ds:schemaRef ds:uri="7f5b135c-cfae-40d3-8ca1-70614c99b4b6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e857c35d-03fd-423e-b114-9dc0e2c72e5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5B67B39-585C-47EB-A5D9-099E9078658A}">
  <ds:schemaRefs>
    <ds:schemaRef ds:uri="7f5b135c-cfae-40d3-8ca1-70614c99b4b6"/>
    <ds:schemaRef ds:uri="e857c35d-03fd-423e-b114-9dc0e2c72e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4FCF79C-FF8C-40E8-BAAE-AC41127B8C3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66</TotalTime>
  <Words>444</Words>
  <Application>Microsoft Office PowerPoint</Application>
  <PresentationFormat>Widescreen</PresentationFormat>
  <Paragraphs>8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7" baseType="lpstr">
      <vt:lpstr>Arial</vt:lpstr>
      <vt:lpstr>Avenir Next LT Pro</vt:lpstr>
      <vt:lpstr>Calibri</vt:lpstr>
      <vt:lpstr>Century Gothic</vt:lpstr>
      <vt:lpstr>Courier New</vt:lpstr>
      <vt:lpstr>Fibra One</vt:lpstr>
      <vt:lpstr>Fibra One Bold</vt:lpstr>
      <vt:lpstr>Fibra One Heavy</vt:lpstr>
      <vt:lpstr>Fibra One Light</vt:lpstr>
      <vt:lpstr>Fibra One SemiBold</vt:lpstr>
      <vt:lpstr>Fibra One UltraBold</vt:lpstr>
      <vt:lpstr>Helvetica Neue</vt:lpstr>
      <vt:lpstr>Leelawadee</vt:lpstr>
      <vt:lpstr>Segoe UI</vt:lpstr>
      <vt:lpstr>Times New Roman</vt:lpstr>
      <vt:lpstr>Wingdings</vt:lpstr>
      <vt:lpstr>Wingdings 2</vt:lpstr>
      <vt:lpstr>Office Theme</vt:lpstr>
      <vt:lpstr>SodaStream Professional Template</vt:lpstr>
      <vt:lpstr>PepsiCo Positive Template </vt:lpstr>
      <vt:lpstr>4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and introduction guide to how to use this deck as a valuable sell and capability resource</dc:title>
  <dc:creator>Walton, Catherine {PEP}</dc:creator>
  <cp:lastModifiedBy>Melnicoff, Matt {PEP}</cp:lastModifiedBy>
  <cp:revision>3</cp:revision>
  <dcterms:created xsi:type="dcterms:W3CDTF">2020-09-30T06:22:14Z</dcterms:created>
  <dcterms:modified xsi:type="dcterms:W3CDTF">2025-04-08T21:44:14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827600</vt:r8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_dlc_policyId">
    <vt:lpwstr>0x010100423F792D533AE0488D9601B7B1810673|-369733750</vt:lpwstr>
  </property>
  <property fmtid="{D5CDD505-2E9C-101B-9397-08002B2CF9AE}" pid="6" name="MediaServiceImageTags">
    <vt:lpwstr/>
  </property>
  <property fmtid="{D5CDD505-2E9C-101B-9397-08002B2CF9AE}" pid="7" name="ItemRetentionFormula">
    <vt:lpwstr>&lt;formula offset="7" unit="days" /&gt;</vt:lpwstr>
  </property>
  <property fmtid="{D5CDD505-2E9C-101B-9397-08002B2CF9AE}" pid="8" name="_dlc_LastRun">
    <vt:lpwstr>02/18/2024 05:21:18</vt:lpwstr>
  </property>
  <property fmtid="{D5CDD505-2E9C-101B-9397-08002B2CF9AE}" pid="9" name="_dlc_ItemStageId">
    <vt:lpwstr>1</vt:lpwstr>
  </property>
  <property fmtid="{D5CDD505-2E9C-101B-9397-08002B2CF9AE}" pid="10" name="ContentTypeId">
    <vt:lpwstr>0x0101005A39D8254A486D47BDA1D12EE80FBE24</vt:lpwstr>
  </property>
  <property fmtid="{D5CDD505-2E9C-101B-9397-08002B2CF9AE}" pid="11" name="MSIP_Label_58532329-be11-4890-9a1f-358987518ed8_Enabled">
    <vt:lpwstr>True</vt:lpwstr>
  </property>
  <property fmtid="{D5CDD505-2E9C-101B-9397-08002B2CF9AE}" pid="12" name="MSIP_Label_58532329-be11-4890-9a1f-358987518ed8_SiteId">
    <vt:lpwstr>42cc3295-cd0e-449c-b98e-5ce5b560c1d3</vt:lpwstr>
  </property>
  <property fmtid="{D5CDD505-2E9C-101B-9397-08002B2CF9AE}" pid="13" name="MSIP_Label_58532329-be11-4890-9a1f-358987518ed8_SetDate">
    <vt:lpwstr>2024-03-14T02:04:19Z</vt:lpwstr>
  </property>
  <property fmtid="{D5CDD505-2E9C-101B-9397-08002B2CF9AE}" pid="14" name="MSIP_Label_58532329-be11-4890-9a1f-358987518ed8_Name">
    <vt:lpwstr>Internal</vt:lpwstr>
  </property>
  <property fmtid="{D5CDD505-2E9C-101B-9397-08002B2CF9AE}" pid="15" name="MSIP_Label_58532329-be11-4890-9a1f-358987518ed8_ActionId">
    <vt:lpwstr>ff849e73-a057-4fd7-a12a-b59e3694e0e1</vt:lpwstr>
  </property>
  <property fmtid="{D5CDD505-2E9C-101B-9397-08002B2CF9AE}" pid="16" name="MSIP_Label_58532329-be11-4890-9a1f-358987518ed8_Removed">
    <vt:lpwstr>False</vt:lpwstr>
  </property>
  <property fmtid="{D5CDD505-2E9C-101B-9397-08002B2CF9AE}" pid="17" name="MSIP_Label_58532329-be11-4890-9a1f-358987518ed8_Extended_MSFT_Method">
    <vt:lpwstr>Standard</vt:lpwstr>
  </property>
  <property fmtid="{D5CDD505-2E9C-101B-9397-08002B2CF9AE}" pid="18" name="Sensitivity">
    <vt:lpwstr>Internal</vt:lpwstr>
  </property>
</Properties>
</file>